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66" r:id="rId2"/>
    <p:sldId id="264" r:id="rId3"/>
    <p:sldId id="265" r:id="rId4"/>
    <p:sldId id="281" r:id="rId5"/>
    <p:sldId id="267" r:id="rId6"/>
    <p:sldId id="268" r:id="rId7"/>
    <p:sldId id="272" r:id="rId8"/>
    <p:sldId id="278" r:id="rId9"/>
    <p:sldId id="273" r:id="rId10"/>
    <p:sldId id="282" r:id="rId11"/>
    <p:sldId id="269" r:id="rId12"/>
    <p:sldId id="270" r:id="rId13"/>
    <p:sldId id="271" r:id="rId14"/>
    <p:sldId id="274" r:id="rId15"/>
    <p:sldId id="276" r:id="rId16"/>
    <p:sldId id="279" r:id="rId17"/>
    <p:sldId id="285" r:id="rId18"/>
    <p:sldId id="287" r:id="rId19"/>
    <p:sldId id="288" r:id="rId20"/>
    <p:sldId id="283" r:id="rId21"/>
    <p:sldId id="284" r:id="rId22"/>
    <p:sldId id="290" r:id="rId23"/>
    <p:sldId id="291" r:id="rId24"/>
    <p:sldId id="292" r:id="rId25"/>
    <p:sldId id="293" r:id="rId26"/>
    <p:sldId id="294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9900"/>
    <a:srgbClr val="5F7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56" autoAdjust="0"/>
    <p:restoredTop sz="94434" autoAdjust="0"/>
  </p:normalViewPr>
  <p:slideViewPr>
    <p:cSldViewPr snapToGrid="0">
      <p:cViewPr varScale="1">
        <p:scale>
          <a:sx n="74" d="100"/>
          <a:sy n="74" d="100"/>
        </p:scale>
        <p:origin x="74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EE07B-5BFA-46FC-AF61-CC9BD33EC30F}" type="datetimeFigureOut">
              <a:rPr lang="en-US" smtClean="0"/>
              <a:t>11/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EFE40F-3167-45B2-B4DA-01DAF03362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454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9BC3F7-D0A1-4C94-847C-0D931305FCA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5839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owerpoint_land_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115" y="0"/>
            <a:ext cx="1220046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2" y="5927728"/>
            <a:ext cx="9599084" cy="360363"/>
          </a:xfrm>
        </p:spPr>
        <p:txBody>
          <a:bodyPr wrap="none"/>
          <a:lstStyle>
            <a:lvl1pPr marL="0" indent="0">
              <a:buFont typeface="Arial" charset="0"/>
              <a:buNone/>
              <a:defRPr sz="911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16519" y="4035428"/>
            <a:ext cx="9596967" cy="422275"/>
          </a:xfrm>
        </p:spPr>
        <p:txBody>
          <a:bodyPr anchor="t"/>
          <a:lstStyle>
            <a:lvl1pPr>
              <a:defRPr sz="209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599192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93038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624730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4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5670"/>
            <a:ext cx="11184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00029" indent="-200029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60002" y="6597650"/>
            <a:ext cx="4896817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59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14"/>
            <a:r>
              <a:rPr lang="en-GB" smtClean="0"/>
              <a:t>Title</a:t>
            </a:r>
            <a:endParaRPr lang="en-GB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78367" y="6597650"/>
            <a:ext cx="480000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59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14"/>
            <a:fld id="{313880FF-B11A-4FA9-B5CC-7226C1B8517C}" type="slidenum">
              <a:rPr lang="en-GB" smtClean="0"/>
              <a:pPr defTabSz="685814"/>
              <a:t>‹#›</a:t>
            </a:fld>
            <a:endParaRPr lang="en-GB" dirty="0"/>
          </a:p>
        </p:txBody>
      </p:sp>
      <p:sp>
        <p:nvSpPr>
          <p:cNvPr id="10" name="SD_OFF_Copyright"/>
          <p:cNvSpPr txBox="1">
            <a:spLocks/>
          </p:cNvSpPr>
          <p:nvPr userDrawn="1"/>
        </p:nvSpPr>
        <p:spPr>
          <a:xfrm>
            <a:off x="8817615" y="6597650"/>
            <a:ext cx="2896020" cy="126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marR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GB" sz="428" dirty="0" smtClean="0">
                <a:solidFill>
                  <a:srgbClr val="8C8C8C"/>
                </a:solidFill>
                <a:cs typeface="Arial" charset="0"/>
              </a:rPr>
              <a:t>© 2015 Deloitte Consulting AG. All rights reserved.</a:t>
            </a:r>
            <a:endParaRPr lang="en-GB" sz="428" dirty="0">
              <a:solidFill>
                <a:srgbClr val="8C8C8C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4039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7207908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48" y="88900"/>
            <a:ext cx="11271251" cy="812800"/>
          </a:xfrm>
          <a:prstGeom prst="rect">
            <a:avLst/>
          </a:prstGeom>
        </p:spPr>
        <p:txBody>
          <a:bodyPr lIns="134095" tIns="67047" rIns="134095" bIns="67047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056225" y="6458412"/>
            <a:ext cx="8798977" cy="376238"/>
          </a:xfrm>
          <a:prstGeom prst="rect">
            <a:avLst/>
          </a:prstGeom>
        </p:spPr>
        <p:txBody>
          <a:bodyPr/>
          <a:lstStyle>
            <a:lvl1pPr>
              <a:defRPr sz="803"/>
            </a:lvl1pPr>
          </a:lstStyle>
          <a:p>
            <a:r>
              <a:rPr lang="en-US" dirty="0" smtClean="0">
                <a:solidFill>
                  <a:srgbClr val="626469"/>
                </a:solidFill>
              </a:rPr>
              <a:t>Classification: CONFIDENTIAL			Pricing – Concept Paper</a:t>
            </a:r>
            <a:endParaRPr lang="en-US" dirty="0">
              <a:solidFill>
                <a:srgbClr val="6264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16615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0932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7" descr="ppt_land_print_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173791"/>
            <a:ext cx="12192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9" y="1211263"/>
            <a:ext cx="11279716" cy="473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83350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64008" rIns="128016" bIns="64008" numCol="1" anchor="t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450"/>
              </a:spcAft>
              <a:tabLst>
                <a:tab pos="331001" algn="l"/>
              </a:tabLst>
              <a:defRPr sz="911">
                <a:latin typeface="Arial" charset="0"/>
              </a:defRPr>
            </a:lvl1pPr>
          </a:lstStyle>
          <a:p>
            <a:pPr defTabSz="685814" fontAlgn="base">
              <a:spcBef>
                <a:spcPct val="0"/>
              </a:spcBef>
              <a:defRPr/>
            </a:pPr>
            <a:endParaRPr lang="en-GB" dirty="0">
              <a:solidFill>
                <a:srgbClr val="626469"/>
              </a:solidFill>
              <a:cs typeface="Arial" charset="0"/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1585" y="6483350"/>
            <a:ext cx="742951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14" eaLnBrk="0" fontAlgn="base" hangingPunct="0">
              <a:spcBef>
                <a:spcPct val="0"/>
              </a:spcBef>
              <a:spcAft>
                <a:spcPts val="450"/>
              </a:spcAft>
            </a:pPr>
            <a:fld id="{6A35189C-F1D3-4E9A-B450-A0FE1B263F22}" type="slidenum">
              <a:rPr lang="en-GB" altLang="en-US" sz="911" smtClean="0">
                <a:solidFill>
                  <a:srgbClr val="626469"/>
                </a:solidFill>
                <a:cs typeface="Arial" charset="0"/>
              </a:rPr>
              <a:pPr defTabSz="685814" eaLnBrk="0" fontAlgn="base" hangingPunct="0">
                <a:spcBef>
                  <a:spcPct val="0"/>
                </a:spcBef>
                <a:spcAft>
                  <a:spcPts val="450"/>
                </a:spcAft>
              </a:pPr>
              <a:t>‹#›</a:t>
            </a:fld>
            <a:r>
              <a:rPr lang="en-GB" altLang="en-US" sz="911" dirty="0" smtClean="0">
                <a:solidFill>
                  <a:srgbClr val="626469"/>
                </a:solidFill>
                <a:cs typeface="Arial" charset="0"/>
              </a:rPr>
              <a:t>	</a:t>
            </a:r>
          </a:p>
        </p:txBody>
      </p:sp>
      <p:pic>
        <p:nvPicPr>
          <p:cNvPr id="1032" name="Picture 8" descr="new logo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435" y="6403975"/>
            <a:ext cx="1566333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7855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</p:sldLayoutIdLst>
  <p:transition>
    <p:wipe dir="r"/>
  </p:transition>
  <p:txStyles>
    <p:titleStyle>
      <a:lvl1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2pPr>
      <a:lvl3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3pPr>
      <a:lvl4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4pPr>
      <a:lvl5pPr algn="l" defTabSz="71796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5pPr>
      <a:lvl6pPr marL="342907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6pPr>
      <a:lvl7pPr marL="685814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7pPr>
      <a:lvl8pPr marL="1028720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8pPr>
      <a:lvl9pPr marL="1371628" algn="l" defTabSz="717962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Arial" charset="0"/>
        </a:defRPr>
      </a:lvl9pPr>
    </p:titleStyle>
    <p:bodyStyle>
      <a:lvl1pPr marL="214317" indent="-214317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●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507217" indent="-207173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-"/>
        <a:defRPr sz="1500">
          <a:solidFill>
            <a:schemeClr val="tx1"/>
          </a:solidFill>
          <a:latin typeface="+mn-lt"/>
        </a:defRPr>
      </a:lvl2pPr>
      <a:lvl3pPr marL="858458" indent="-215508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3pPr>
      <a:lvl4pPr marL="1214462" indent="-221461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panose="020B0604020202020204" pitchFamily="34" charset="0"/>
        <a:buChar char="-"/>
        <a:defRPr sz="1500">
          <a:solidFill>
            <a:schemeClr val="tx1"/>
          </a:solidFill>
          <a:latin typeface="+mn-lt"/>
        </a:defRPr>
      </a:lvl4pPr>
      <a:lvl5pPr marL="1570466" indent="-221461" algn="l" defTabSz="717962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5pPr>
      <a:lvl6pPr marL="1913373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6pPr>
      <a:lvl7pPr marL="2256280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7pPr>
      <a:lvl8pPr marL="2599187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8pPr>
      <a:lvl9pPr marL="2942093" indent="-221461" algn="l" defTabSz="717962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7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4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0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28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35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41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48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55" algn="l" defTabSz="685814" rtl="0" eaLnBrk="1" latinLnBrk="0" hangingPunct="1">
        <a:defRPr sz="1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966104\Documents\repos\docs\syngenta-appmap\Test%20Enviroment%20Plan%20V3.xlsx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de-CH" dirty="0" smtClean="0"/>
              <a:t>Dat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914402" y="4138459"/>
            <a:ext cx="9596967" cy="422275"/>
          </a:xfrm>
        </p:spPr>
        <p:txBody>
          <a:bodyPr/>
          <a:lstStyle/>
          <a:p>
            <a:r>
              <a:rPr lang="de-CH" dirty="0" smtClean="0"/>
              <a:t>Satellite Integration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57631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 smtClean="0"/>
              <a:t>FiP Satellite Systems Landscapes</a:t>
            </a:r>
            <a:endParaRPr lang="pt-B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94580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HR (GPS)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4710302" y="3434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452287" y="2752019"/>
            <a:ext cx="1363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80543" y="5512004"/>
            <a:ext cx="4893197" cy="115834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HR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GPS to FE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634548" y="25064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344580" y="342904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359139" y="342904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140628" y="265646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53" name="Elbow Connector 52"/>
          <p:cNvCxnSpPr>
            <a:stCxn id="89" idx="2"/>
            <a:endCxn id="42" idx="0"/>
          </p:cNvCxnSpPr>
          <p:nvPr/>
        </p:nvCxnSpPr>
        <p:spPr bwMode="auto">
          <a:xfrm rot="5400000">
            <a:off x="3089050" y="2749535"/>
            <a:ext cx="1359014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7" idx="2"/>
            <a:endCxn id="43" idx="0"/>
          </p:cNvCxnSpPr>
          <p:nvPr/>
        </p:nvCxnSpPr>
        <p:spPr bwMode="auto">
          <a:xfrm rot="5400000">
            <a:off x="103608" y="2749535"/>
            <a:ext cx="135901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43" idx="3"/>
            <a:endCxn id="42" idx="1"/>
          </p:cNvCxnSpPr>
          <p:nvPr/>
        </p:nvCxnSpPr>
        <p:spPr bwMode="auto">
          <a:xfrm>
            <a:off x="1207090" y="3720710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42" idx="3"/>
            <a:endCxn id="38" idx="1"/>
          </p:cNvCxnSpPr>
          <p:nvPr/>
        </p:nvCxnSpPr>
        <p:spPr bwMode="auto">
          <a:xfrm>
            <a:off x="4192531" y="3720710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76" name="TextBox 75"/>
          <p:cNvSpPr txBox="1"/>
          <p:nvPr/>
        </p:nvSpPr>
        <p:spPr>
          <a:xfrm>
            <a:off x="3257464" y="250394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203926" y="25039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8" name="Straight Arrow Connector 57"/>
          <p:cNvCxnSpPr>
            <a:stCxn id="51" idx="3"/>
            <a:endCxn id="54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9" name="Straight Arrow Connector 58"/>
          <p:cNvCxnSpPr>
            <a:stCxn id="54" idx="3"/>
            <a:endCxn id="55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0" name="Straight Arrow Connector 59"/>
          <p:cNvCxnSpPr>
            <a:stCxn id="55" idx="3"/>
            <a:endCxn id="56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2" name="Rectangle 61"/>
          <p:cNvSpPr/>
          <p:nvPr/>
        </p:nvSpPr>
        <p:spPr bwMode="auto">
          <a:xfrm>
            <a:off x="6330617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7823338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9316059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10681780" y="1493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8" name="Straight Arrow Connector 67"/>
          <p:cNvCxnSpPr>
            <a:stCxn id="62" idx="3"/>
            <a:endCxn id="63" idx="1"/>
          </p:cNvCxnSpPr>
          <p:nvPr/>
        </p:nvCxnSpPr>
        <p:spPr bwMode="auto">
          <a:xfrm>
            <a:off x="7178568" y="1785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9" name="Straight Arrow Connector 68"/>
          <p:cNvCxnSpPr>
            <a:stCxn id="63" idx="3"/>
            <a:endCxn id="65" idx="1"/>
          </p:cNvCxnSpPr>
          <p:nvPr/>
        </p:nvCxnSpPr>
        <p:spPr bwMode="auto">
          <a:xfrm>
            <a:off x="8671289" y="1785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Straight Arrow Connector 70"/>
          <p:cNvCxnSpPr>
            <a:stCxn id="65" idx="3"/>
            <a:endCxn id="66" idx="1"/>
          </p:cNvCxnSpPr>
          <p:nvPr/>
        </p:nvCxnSpPr>
        <p:spPr bwMode="auto">
          <a:xfrm>
            <a:off x="10164010" y="1785535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" name="Rectangle 3"/>
          <p:cNvSpPr/>
          <p:nvPr/>
        </p:nvSpPr>
        <p:spPr bwMode="auto">
          <a:xfrm>
            <a:off x="6484024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153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608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759072" y="2944769"/>
            <a:ext cx="1000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5" name="TextBox 104"/>
          <p:cNvSpPr txBox="1"/>
          <p:nvPr/>
        </p:nvSpPr>
        <p:spPr>
          <a:xfrm>
            <a:off x="10338287" y="2150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120275" y="4084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(</a:t>
            </a:r>
            <a:r>
              <a:rPr lang="pt-BR" sz="1400" dirty="0">
                <a:solidFill>
                  <a:srgbClr val="FF0000"/>
                </a:solidFill>
              </a:rPr>
              <a:t>5</a:t>
            </a:r>
            <a:r>
              <a:rPr lang="pt-BR" sz="1400" dirty="0" smtClean="0">
                <a:solidFill>
                  <a:srgbClr val="FF0000"/>
                </a:solidFill>
              </a:rPr>
              <a:t>)</a:t>
            </a:r>
          </a:p>
        </p:txBody>
      </p: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729500" y="3029575"/>
            <a:ext cx="539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8990067" y="2543134"/>
            <a:ext cx="544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392526" y="2943946"/>
            <a:ext cx="1000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36" name="TextBox 135"/>
          <p:cNvSpPr txBox="1"/>
          <p:nvPr/>
        </p:nvSpPr>
        <p:spPr>
          <a:xfrm>
            <a:off x="6356725" y="2973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8048239" y="2973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333491" y="2491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682393" y="2500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0835187" y="344486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467818" y="344486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434437" y="343989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0" name="Straight Arrow Connector 69"/>
          <p:cNvCxnSpPr>
            <a:stCxn id="46" idx="3"/>
            <a:endCxn id="45" idx="1"/>
          </p:cNvCxnSpPr>
          <p:nvPr/>
        </p:nvCxnSpPr>
        <p:spPr bwMode="auto">
          <a:xfrm>
            <a:off x="7282388" y="3731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Straight Arrow Connector 72"/>
          <p:cNvCxnSpPr>
            <a:stCxn id="45" idx="3"/>
            <a:endCxn id="44" idx="1"/>
          </p:cNvCxnSpPr>
          <p:nvPr/>
        </p:nvCxnSpPr>
        <p:spPr bwMode="auto">
          <a:xfrm flipV="1">
            <a:off x="10315769" y="3736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1" name="TextBox 60"/>
          <p:cNvSpPr txBox="1"/>
          <p:nvPr/>
        </p:nvSpPr>
        <p:spPr>
          <a:xfrm>
            <a:off x="10350092" y="32990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</p:spTree>
    <p:extLst>
      <p:ext uri="{BB962C8B-B14F-4D97-AF65-F5344CB8AC3E}">
        <p14:creationId xmlns:p14="http://schemas.microsoft.com/office/powerpoint/2010/main" val="23994486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hadar / Synseg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4710302" y="305301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642787" y="2561519"/>
            <a:ext cx="982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4172725" y="5883760"/>
            <a:ext cx="4147028" cy="66709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GPS Cutover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344580" y="304804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359139" y="304804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cxnSp>
        <p:nvCxnSpPr>
          <p:cNvPr id="53" name="Elbow Connector 52"/>
          <p:cNvCxnSpPr>
            <a:stCxn id="89" idx="2"/>
            <a:endCxn id="42" idx="0"/>
          </p:cNvCxnSpPr>
          <p:nvPr/>
        </p:nvCxnSpPr>
        <p:spPr bwMode="auto">
          <a:xfrm rot="5400000">
            <a:off x="3279550" y="2559035"/>
            <a:ext cx="978014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7" idx="2"/>
            <a:endCxn id="43" idx="0"/>
          </p:cNvCxnSpPr>
          <p:nvPr/>
        </p:nvCxnSpPr>
        <p:spPr bwMode="auto">
          <a:xfrm rot="5400000">
            <a:off x="294108" y="2559035"/>
            <a:ext cx="97801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Rectangle 46"/>
          <p:cNvSpPr/>
          <p:nvPr/>
        </p:nvSpPr>
        <p:spPr bwMode="auto">
          <a:xfrm>
            <a:off x="4702133" y="42086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Rhadar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4701443" y="495967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ynSEG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1" name="Elbow Connector 50"/>
          <p:cNvCxnSpPr>
            <a:stCxn id="38" idx="2"/>
            <a:endCxn id="47" idx="1"/>
          </p:cNvCxnSpPr>
          <p:nvPr/>
        </p:nvCxnSpPr>
        <p:spPr bwMode="auto">
          <a:xfrm rot="5400000">
            <a:off x="4486226" y="3852253"/>
            <a:ext cx="863960" cy="432145"/>
          </a:xfrm>
          <a:prstGeom prst="bentConnector4">
            <a:avLst>
              <a:gd name="adj1" fmla="val 33120"/>
              <a:gd name="adj2" fmla="val 152899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4" name="Elbow Connector 53"/>
          <p:cNvCxnSpPr>
            <a:stCxn id="38" idx="2"/>
            <a:endCxn id="48" idx="1"/>
          </p:cNvCxnSpPr>
          <p:nvPr/>
        </p:nvCxnSpPr>
        <p:spPr bwMode="auto">
          <a:xfrm rot="5400000">
            <a:off x="4110364" y="4227425"/>
            <a:ext cx="1614994" cy="432835"/>
          </a:xfrm>
          <a:prstGeom prst="bentConnector4">
            <a:avLst>
              <a:gd name="adj1" fmla="val 17844"/>
              <a:gd name="adj2" fmla="val 15281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Flowchart: Document 62"/>
          <p:cNvSpPr/>
          <p:nvPr/>
        </p:nvSpPr>
        <p:spPr bwMode="auto">
          <a:xfrm>
            <a:off x="5638430" y="471543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Flowchart: Document 63"/>
          <p:cNvSpPr/>
          <p:nvPr/>
        </p:nvSpPr>
        <p:spPr bwMode="auto">
          <a:xfrm>
            <a:off x="5656900" y="544443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7" name="Straight Arrow Connector 66"/>
          <p:cNvCxnSpPr>
            <a:stCxn id="43" idx="3"/>
            <a:endCxn id="42" idx="1"/>
          </p:cNvCxnSpPr>
          <p:nvPr/>
        </p:nvCxnSpPr>
        <p:spPr bwMode="auto">
          <a:xfrm>
            <a:off x="1207090" y="3339710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42" idx="3"/>
            <a:endCxn id="38" idx="1"/>
          </p:cNvCxnSpPr>
          <p:nvPr/>
        </p:nvCxnSpPr>
        <p:spPr bwMode="auto">
          <a:xfrm>
            <a:off x="4192531" y="3339710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Rectangle 67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5" name="Straight Arrow Connector 74"/>
          <p:cNvCxnSpPr>
            <a:stCxn id="68" idx="3"/>
            <a:endCxn id="69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7" name="Straight Arrow Connector 76"/>
          <p:cNvCxnSpPr>
            <a:stCxn id="69" idx="3"/>
            <a:endCxn id="71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8" name="Straight Arrow Connector 77"/>
          <p:cNvCxnSpPr>
            <a:stCxn id="71" idx="3"/>
            <a:endCxn id="72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4634548" y="25064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257464" y="250394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203926" y="25039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149353" y="367272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00" name="Rectangle 99"/>
          <p:cNvSpPr/>
          <p:nvPr/>
        </p:nvSpPr>
        <p:spPr bwMode="auto">
          <a:xfrm>
            <a:off x="6203617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101" name="Rectangle 100"/>
          <p:cNvSpPr/>
          <p:nvPr/>
        </p:nvSpPr>
        <p:spPr bwMode="auto">
          <a:xfrm>
            <a:off x="7696338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9189059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10554780" y="13668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5" name="Straight Arrow Connector 104"/>
          <p:cNvCxnSpPr>
            <a:stCxn id="100" idx="3"/>
            <a:endCxn id="101" idx="1"/>
          </p:cNvCxnSpPr>
          <p:nvPr/>
        </p:nvCxnSpPr>
        <p:spPr bwMode="auto">
          <a:xfrm>
            <a:off x="7051568" y="1658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6" name="Straight Arrow Connector 105"/>
          <p:cNvCxnSpPr>
            <a:stCxn id="101" idx="3"/>
            <a:endCxn id="103" idx="1"/>
          </p:cNvCxnSpPr>
          <p:nvPr/>
        </p:nvCxnSpPr>
        <p:spPr bwMode="auto">
          <a:xfrm>
            <a:off x="8544289" y="1658535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7" name="Straight Arrow Connector 106"/>
          <p:cNvCxnSpPr>
            <a:stCxn id="103" idx="3"/>
            <a:endCxn id="104" idx="1"/>
          </p:cNvCxnSpPr>
          <p:nvPr/>
        </p:nvCxnSpPr>
        <p:spPr bwMode="auto">
          <a:xfrm>
            <a:off x="10037010" y="1658535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" name="Rectangle 3"/>
          <p:cNvSpPr/>
          <p:nvPr/>
        </p:nvSpPr>
        <p:spPr bwMode="auto">
          <a:xfrm>
            <a:off x="6357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632072" y="2817769"/>
            <a:ext cx="1000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602500" y="2902575"/>
            <a:ext cx="539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8863067" y="2416134"/>
            <a:ext cx="544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265526" y="2816946"/>
            <a:ext cx="1000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36" name="TextBox 135"/>
          <p:cNvSpPr txBox="1"/>
          <p:nvPr/>
        </p:nvSpPr>
        <p:spPr>
          <a:xfrm>
            <a:off x="6229725" y="2846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921239" y="2846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206491" y="2364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555393" y="2373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0708187" y="331786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S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340818" y="331786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P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307437" y="331289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P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1516503" y="425596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49" name="Rectangle 48"/>
          <p:cNvSpPr/>
          <p:nvPr/>
        </p:nvSpPr>
        <p:spPr bwMode="auto">
          <a:xfrm>
            <a:off x="10714538" y="44626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Rhadar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10713848" y="521367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ynSEG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6" name="Elbow Connector 55"/>
          <p:cNvCxnSpPr>
            <a:stCxn id="44" idx="2"/>
            <a:endCxn id="49" idx="1"/>
          </p:cNvCxnSpPr>
          <p:nvPr/>
        </p:nvCxnSpPr>
        <p:spPr bwMode="auto">
          <a:xfrm rot="5400000">
            <a:off x="10496797" y="4118938"/>
            <a:ext cx="853109" cy="417625"/>
          </a:xfrm>
          <a:prstGeom prst="bentConnector4">
            <a:avLst>
              <a:gd name="adj1" fmla="val 32906"/>
              <a:gd name="adj2" fmla="val 154738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44" idx="2"/>
            <a:endCxn id="50" idx="1"/>
          </p:cNvCxnSpPr>
          <p:nvPr/>
        </p:nvCxnSpPr>
        <p:spPr bwMode="auto">
          <a:xfrm rot="5400000">
            <a:off x="10120935" y="4494110"/>
            <a:ext cx="1604143" cy="418315"/>
          </a:xfrm>
          <a:prstGeom prst="bentConnector4">
            <a:avLst>
              <a:gd name="adj1" fmla="val 18429"/>
              <a:gd name="adj2" fmla="val 154648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Flowchart: Document 64"/>
          <p:cNvSpPr/>
          <p:nvPr/>
        </p:nvSpPr>
        <p:spPr bwMode="auto">
          <a:xfrm>
            <a:off x="11633306" y="496943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Flowchart: Document 65"/>
          <p:cNvSpPr/>
          <p:nvPr/>
        </p:nvSpPr>
        <p:spPr bwMode="auto">
          <a:xfrm>
            <a:off x="11651776" y="569843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3" name="Straight Arrow Connector 72"/>
          <p:cNvCxnSpPr>
            <a:stCxn id="46" idx="3"/>
            <a:endCxn id="45" idx="1"/>
          </p:cNvCxnSpPr>
          <p:nvPr/>
        </p:nvCxnSpPr>
        <p:spPr bwMode="auto">
          <a:xfrm>
            <a:off x="7155388" y="3604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45" idx="3"/>
            <a:endCxn id="44" idx="1"/>
          </p:cNvCxnSpPr>
          <p:nvPr/>
        </p:nvCxnSpPr>
        <p:spPr bwMode="auto">
          <a:xfrm flipV="1">
            <a:off x="10188769" y="3609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80" name="TextBox 79"/>
          <p:cNvSpPr txBox="1"/>
          <p:nvPr/>
        </p:nvSpPr>
        <p:spPr>
          <a:xfrm>
            <a:off x="11526039" y="339082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81" name="Elbow Connector 80"/>
          <p:cNvCxnSpPr>
            <a:stCxn id="46" idx="2"/>
            <a:endCxn id="50" idx="1"/>
          </p:cNvCxnSpPr>
          <p:nvPr/>
        </p:nvCxnSpPr>
        <p:spPr bwMode="auto">
          <a:xfrm rot="16200000" flipH="1">
            <a:off x="7918076" y="2709566"/>
            <a:ext cx="1609109" cy="3982435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84" name="Elbow Connector 83"/>
          <p:cNvCxnSpPr>
            <a:stCxn id="46" idx="2"/>
            <a:endCxn id="49" idx="1"/>
          </p:cNvCxnSpPr>
          <p:nvPr/>
        </p:nvCxnSpPr>
        <p:spPr bwMode="auto">
          <a:xfrm rot="16200000" flipH="1">
            <a:off x="8293938" y="2333704"/>
            <a:ext cx="858075" cy="3983125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45" idx="2"/>
            <a:endCxn id="49" idx="1"/>
          </p:cNvCxnSpPr>
          <p:nvPr/>
        </p:nvCxnSpPr>
        <p:spPr bwMode="auto">
          <a:xfrm rot="16200000" flipH="1">
            <a:off x="9813112" y="3852879"/>
            <a:ext cx="853108" cy="94974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45" idx="2"/>
            <a:endCxn id="50" idx="1"/>
          </p:cNvCxnSpPr>
          <p:nvPr/>
        </p:nvCxnSpPr>
        <p:spPr bwMode="auto">
          <a:xfrm rot="16200000" flipH="1">
            <a:off x="9437250" y="4228741"/>
            <a:ext cx="1604142" cy="9490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86" name="TextBox 85"/>
          <p:cNvSpPr txBox="1"/>
          <p:nvPr/>
        </p:nvSpPr>
        <p:spPr>
          <a:xfrm>
            <a:off x="11138513" y="392924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cxnSp>
        <p:nvCxnSpPr>
          <p:cNvPr id="108" name="Straight Arrow Connector 107"/>
          <p:cNvCxnSpPr/>
          <p:nvPr/>
        </p:nvCxnSpPr>
        <p:spPr bwMode="auto">
          <a:xfrm>
            <a:off x="7204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9" name="Straight Arrow Connector 108"/>
          <p:cNvCxnSpPr/>
          <p:nvPr/>
        </p:nvCxnSpPr>
        <p:spPr bwMode="auto">
          <a:xfrm>
            <a:off x="8697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0" name="Straight Arrow Connector 109"/>
          <p:cNvCxnSpPr/>
          <p:nvPr/>
        </p:nvCxnSpPr>
        <p:spPr bwMode="auto">
          <a:xfrm>
            <a:off x="10190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630515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RC NFE Satellite Landscape</a:t>
            </a:r>
            <a:endParaRPr lang="pt-B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352236" y="39144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857486" y="391446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 flipV="1">
            <a:off x="7200187" y="4206134"/>
            <a:ext cx="657299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364209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 flipV="1">
            <a:off x="8705437" y="4205422"/>
            <a:ext cx="658772" cy="7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732818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>
            <a:off x="10212160" y="4205422"/>
            <a:ext cx="520658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104" idx="0"/>
          </p:cNvCxnSpPr>
          <p:nvPr/>
        </p:nvCxnSpPr>
        <p:spPr bwMode="auto">
          <a:xfrm rot="16200000" flipH="1">
            <a:off x="9419893" y="2410227"/>
            <a:ext cx="708578" cy="1548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112" idx="0"/>
          </p:cNvCxnSpPr>
          <p:nvPr/>
        </p:nvCxnSpPr>
        <p:spPr bwMode="auto">
          <a:xfrm rot="16200000" flipH="1">
            <a:off x="10790190" y="2405650"/>
            <a:ext cx="708577" cy="2463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942234" y="5608114"/>
            <a:ext cx="4353129" cy="117693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GRCNFE TRs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211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13429" y="421399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359138" y="278143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55182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1847903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2" name="Straight Arrow Connector 61"/>
          <p:cNvCxnSpPr>
            <a:stCxn id="60" idx="3"/>
            <a:endCxn id="61" idx="1"/>
          </p:cNvCxnSpPr>
          <p:nvPr/>
        </p:nvCxnSpPr>
        <p:spPr bwMode="auto">
          <a:xfrm>
            <a:off x="1203133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3340624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1" idx="3"/>
            <a:endCxn id="63" idx="1"/>
          </p:cNvCxnSpPr>
          <p:nvPr/>
        </p:nvCxnSpPr>
        <p:spPr bwMode="auto">
          <a:xfrm>
            <a:off x="2695854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4706345" y="39196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 flipV="1">
            <a:off x="4188575" y="4211279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89" idx="2"/>
            <a:endCxn id="78" idx="0"/>
          </p:cNvCxnSpPr>
          <p:nvPr/>
        </p:nvCxnSpPr>
        <p:spPr bwMode="auto">
          <a:xfrm rot="5400000">
            <a:off x="3412857" y="2425728"/>
            <a:ext cx="7114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90" idx="2"/>
            <a:endCxn id="79" idx="0"/>
          </p:cNvCxnSpPr>
          <p:nvPr/>
        </p:nvCxnSpPr>
        <p:spPr bwMode="auto">
          <a:xfrm rot="16200000" flipH="1">
            <a:off x="4784490" y="2419816"/>
            <a:ext cx="711400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5567914" y="147220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1863684" y="278143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3344580" y="278142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722126" y="27814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6357024" y="2776095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7861570" y="2776094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4" name="Elbow Connector 83"/>
          <p:cNvCxnSpPr>
            <a:stCxn id="88" idx="2"/>
            <a:endCxn id="77" idx="0"/>
          </p:cNvCxnSpPr>
          <p:nvPr/>
        </p:nvCxnSpPr>
        <p:spPr bwMode="auto">
          <a:xfrm rot="16200000" flipH="1">
            <a:off x="1926047" y="2419817"/>
            <a:ext cx="711402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87" idx="2"/>
            <a:endCxn id="110" idx="0"/>
          </p:cNvCxnSpPr>
          <p:nvPr/>
        </p:nvCxnSpPr>
        <p:spPr bwMode="auto">
          <a:xfrm rot="5400000">
            <a:off x="427414" y="2425729"/>
            <a:ext cx="711403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0" idx="0"/>
            <a:endCxn id="110" idx="2"/>
          </p:cNvCxnSpPr>
          <p:nvPr/>
        </p:nvCxnSpPr>
        <p:spPr bwMode="auto">
          <a:xfrm rot="5400000" flipH="1" flipV="1">
            <a:off x="497968" y="3645957"/>
            <a:ext cx="566337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61" idx="0"/>
            <a:endCxn id="77" idx="2"/>
          </p:cNvCxnSpPr>
          <p:nvPr/>
        </p:nvCxnSpPr>
        <p:spPr bwMode="auto">
          <a:xfrm rot="5400000" flipH="1" flipV="1">
            <a:off x="1996600" y="3640044"/>
            <a:ext cx="56633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63" idx="0"/>
            <a:endCxn id="78" idx="2"/>
          </p:cNvCxnSpPr>
          <p:nvPr/>
        </p:nvCxnSpPr>
        <p:spPr bwMode="auto">
          <a:xfrm rot="5400000" flipH="1" flipV="1">
            <a:off x="3483409" y="3645956"/>
            <a:ext cx="566339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65" idx="0"/>
            <a:endCxn id="79" idx="2"/>
          </p:cNvCxnSpPr>
          <p:nvPr/>
        </p:nvCxnSpPr>
        <p:spPr bwMode="auto">
          <a:xfrm rot="5400000" flipH="1" flipV="1">
            <a:off x="4860787" y="3634297"/>
            <a:ext cx="55484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4" name="Rectangle 103"/>
          <p:cNvSpPr/>
          <p:nvPr/>
        </p:nvSpPr>
        <p:spPr bwMode="auto">
          <a:xfrm>
            <a:off x="9357946" y="277225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10732818" y="277225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3" name="Elbow Connector 112"/>
          <p:cNvCxnSpPr>
            <a:stCxn id="4" idx="2"/>
            <a:endCxn id="80" idx="0"/>
          </p:cNvCxnSpPr>
          <p:nvPr/>
        </p:nvCxnSpPr>
        <p:spPr bwMode="auto">
          <a:xfrm rot="5400000">
            <a:off x="6424792" y="2419886"/>
            <a:ext cx="71241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5" name="Elbow Connector 114"/>
          <p:cNvCxnSpPr>
            <a:stCxn id="5" idx="2"/>
            <a:endCxn id="81" idx="0"/>
          </p:cNvCxnSpPr>
          <p:nvPr/>
        </p:nvCxnSpPr>
        <p:spPr bwMode="auto">
          <a:xfrm rot="16200000" flipH="1">
            <a:off x="7923425" y="2413973"/>
            <a:ext cx="712416" cy="1182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0" name="TextBox 129"/>
          <p:cNvSpPr txBox="1"/>
          <p:nvPr/>
        </p:nvSpPr>
        <p:spPr>
          <a:xfrm>
            <a:off x="11171313" y="341066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68" name="Straight Arrow Connector 67"/>
          <p:cNvCxnSpPr>
            <a:stCxn id="110" idx="3"/>
            <a:endCxn id="77" idx="1"/>
          </p:cNvCxnSpPr>
          <p:nvPr/>
        </p:nvCxnSpPr>
        <p:spPr bwMode="auto">
          <a:xfrm flipV="1">
            <a:off x="1207089" y="3073098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77" idx="3"/>
            <a:endCxn id="78" idx="1"/>
          </p:cNvCxnSpPr>
          <p:nvPr/>
        </p:nvCxnSpPr>
        <p:spPr bwMode="auto">
          <a:xfrm flipV="1">
            <a:off x="2711635" y="3073097"/>
            <a:ext cx="63294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 bwMode="auto">
          <a:xfrm flipV="1">
            <a:off x="4192531" y="3073096"/>
            <a:ext cx="529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Straight Arrow Connector 82"/>
          <p:cNvCxnSpPr>
            <a:stCxn id="80" idx="3"/>
            <a:endCxn id="81" idx="1"/>
          </p:cNvCxnSpPr>
          <p:nvPr/>
        </p:nvCxnSpPr>
        <p:spPr bwMode="auto">
          <a:xfrm flipV="1">
            <a:off x="7204975" y="3067762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Straight Arrow Connector 107"/>
          <p:cNvCxnSpPr>
            <a:stCxn id="104" idx="3"/>
            <a:endCxn id="112" idx="1"/>
          </p:cNvCxnSpPr>
          <p:nvPr/>
        </p:nvCxnSpPr>
        <p:spPr bwMode="auto">
          <a:xfrm flipV="1">
            <a:off x="10205897" y="3063923"/>
            <a:ext cx="526921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9" name="Rectangle 108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8" name="Straight Arrow Connector 117"/>
          <p:cNvCxnSpPr>
            <a:stCxn id="109" idx="3"/>
            <a:endCxn id="111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0" name="Straight Arrow Connector 119"/>
          <p:cNvCxnSpPr>
            <a:stCxn id="111" idx="3"/>
            <a:endCxn id="114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4" idx="3"/>
            <a:endCxn id="117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776473" y="239781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358991" y="23960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831461" y="239352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55265" y="239125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830865" y="353661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29" name="TextBox 128"/>
          <p:cNvSpPr txBox="1"/>
          <p:nvPr/>
        </p:nvSpPr>
        <p:spPr>
          <a:xfrm>
            <a:off x="2348888" y="353661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03674" y="353371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2" name="Cloud Callout 131"/>
          <p:cNvSpPr/>
          <p:nvPr/>
        </p:nvSpPr>
        <p:spPr bwMode="auto">
          <a:xfrm>
            <a:off x="2242060" y="512238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133" name="Elbow Connector 132"/>
          <p:cNvCxnSpPr>
            <a:stCxn id="132" idx="3"/>
            <a:endCxn id="60" idx="2"/>
          </p:cNvCxnSpPr>
          <p:nvPr/>
        </p:nvCxnSpPr>
        <p:spPr bwMode="auto">
          <a:xfrm rot="16200000" flipV="1">
            <a:off x="1539211" y="3754385"/>
            <a:ext cx="653598" cy="217370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4" name="Elbow Connector 133"/>
          <p:cNvCxnSpPr>
            <a:stCxn id="132" idx="3"/>
            <a:endCxn id="61" idx="2"/>
          </p:cNvCxnSpPr>
          <p:nvPr/>
        </p:nvCxnSpPr>
        <p:spPr bwMode="auto">
          <a:xfrm rot="16200000" flipV="1">
            <a:off x="2285571" y="4500746"/>
            <a:ext cx="653598" cy="68098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5" name="Elbow Connector 134"/>
          <p:cNvCxnSpPr>
            <a:stCxn id="132" idx="3"/>
            <a:endCxn id="63" idx="2"/>
          </p:cNvCxnSpPr>
          <p:nvPr/>
        </p:nvCxnSpPr>
        <p:spPr bwMode="auto">
          <a:xfrm rot="5400000" flipH="1" flipV="1">
            <a:off x="3031931" y="4435368"/>
            <a:ext cx="653598" cy="81173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6" name="Elbow Connector 135"/>
          <p:cNvCxnSpPr>
            <a:stCxn id="132" idx="3"/>
            <a:endCxn id="65" idx="2"/>
          </p:cNvCxnSpPr>
          <p:nvPr/>
        </p:nvCxnSpPr>
        <p:spPr bwMode="auto">
          <a:xfrm rot="5400000" flipH="1" flipV="1">
            <a:off x="3709046" y="3746761"/>
            <a:ext cx="665090" cy="21774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7" name="TextBox 136"/>
          <p:cNvSpPr txBox="1"/>
          <p:nvPr/>
        </p:nvSpPr>
        <p:spPr>
          <a:xfrm>
            <a:off x="2719824" y="459798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357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69" name="Elbow Connector 168"/>
          <p:cNvCxnSpPr>
            <a:stCxn id="32" idx="0"/>
            <a:endCxn id="104" idx="2"/>
          </p:cNvCxnSpPr>
          <p:nvPr/>
        </p:nvCxnSpPr>
        <p:spPr bwMode="auto">
          <a:xfrm rot="16200000" flipV="1">
            <a:off x="9505973" y="3631541"/>
            <a:ext cx="558163" cy="626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2" name="Elbow Connector 171"/>
          <p:cNvCxnSpPr>
            <a:stCxn id="35" idx="0"/>
            <a:endCxn id="112" idx="2"/>
          </p:cNvCxnSpPr>
          <p:nvPr/>
        </p:nvCxnSpPr>
        <p:spPr bwMode="auto">
          <a:xfrm rot="5400000" flipH="1" flipV="1">
            <a:off x="10877712" y="3634672"/>
            <a:ext cx="55816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6801908" y="251160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384426" y="250987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9856896" y="250731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11180700" y="250504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6958670" y="35227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0" name="TextBox 199"/>
          <p:cNvSpPr txBox="1"/>
          <p:nvPr/>
        </p:nvSpPr>
        <p:spPr>
          <a:xfrm>
            <a:off x="8476693" y="352274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1" name="TextBox 200"/>
          <p:cNvSpPr txBox="1"/>
          <p:nvPr/>
        </p:nvSpPr>
        <p:spPr>
          <a:xfrm>
            <a:off x="10031479" y="351984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2" name="Cloud Callout 201"/>
          <p:cNvSpPr/>
          <p:nvPr/>
        </p:nvSpPr>
        <p:spPr bwMode="auto">
          <a:xfrm>
            <a:off x="8408685" y="5059894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203" name="Elbow Connector 202"/>
          <p:cNvCxnSpPr>
            <a:stCxn id="202" idx="3"/>
            <a:endCxn id="29" idx="2"/>
          </p:cNvCxnSpPr>
          <p:nvPr/>
        </p:nvCxnSpPr>
        <p:spPr bwMode="auto">
          <a:xfrm rot="16200000" flipV="1">
            <a:off x="7643976" y="3630038"/>
            <a:ext cx="607746" cy="234327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" name="Elbow Connector 203"/>
          <p:cNvCxnSpPr>
            <a:stCxn id="202" idx="3"/>
            <a:endCxn id="30" idx="2"/>
          </p:cNvCxnSpPr>
          <p:nvPr/>
        </p:nvCxnSpPr>
        <p:spPr bwMode="auto">
          <a:xfrm rot="16200000" flipV="1">
            <a:off x="8396601" y="4382663"/>
            <a:ext cx="607747" cy="8380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5" name="Elbow Connector 204"/>
          <p:cNvCxnSpPr>
            <a:stCxn id="202" idx="3"/>
            <a:endCxn id="32" idx="2"/>
          </p:cNvCxnSpPr>
          <p:nvPr/>
        </p:nvCxnSpPr>
        <p:spPr bwMode="auto">
          <a:xfrm rot="5400000" flipH="1" flipV="1">
            <a:off x="9149606" y="4466970"/>
            <a:ext cx="608459" cy="66869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6" name="Elbow Connector 205"/>
          <p:cNvCxnSpPr>
            <a:stCxn id="202" idx="3"/>
            <a:endCxn id="35" idx="2"/>
          </p:cNvCxnSpPr>
          <p:nvPr/>
        </p:nvCxnSpPr>
        <p:spPr bwMode="auto">
          <a:xfrm rot="5400000" flipH="1" flipV="1">
            <a:off x="9833911" y="3782665"/>
            <a:ext cx="608459" cy="20373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07" name="TextBox 206"/>
          <p:cNvSpPr txBox="1"/>
          <p:nvPr/>
        </p:nvSpPr>
        <p:spPr>
          <a:xfrm>
            <a:off x="8874103" y="451443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212" name="Elbow Connector 211"/>
          <p:cNvCxnSpPr>
            <a:stCxn id="29" idx="0"/>
            <a:endCxn id="80" idx="2"/>
          </p:cNvCxnSpPr>
          <p:nvPr/>
        </p:nvCxnSpPr>
        <p:spPr bwMode="auto">
          <a:xfrm rot="5400000" flipH="1" flipV="1">
            <a:off x="6501088" y="3634555"/>
            <a:ext cx="555037" cy="47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15" name="Elbow Connector 214"/>
          <p:cNvCxnSpPr>
            <a:stCxn id="30" idx="0"/>
            <a:endCxn id="81" idx="2"/>
          </p:cNvCxnSpPr>
          <p:nvPr/>
        </p:nvCxnSpPr>
        <p:spPr bwMode="auto">
          <a:xfrm rot="5400000" flipH="1" flipV="1">
            <a:off x="8005986" y="3634906"/>
            <a:ext cx="555037" cy="408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20" name="TextBox 219"/>
          <p:cNvSpPr txBox="1"/>
          <p:nvPr/>
        </p:nvSpPr>
        <p:spPr>
          <a:xfrm>
            <a:off x="10231509" y="31836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cxnSp>
        <p:nvCxnSpPr>
          <p:cNvPr id="124" name="Straight Arrow Connector 123"/>
          <p:cNvCxnSpPr>
            <a:stCxn id="81" idx="3"/>
            <a:endCxn id="104" idx="1"/>
          </p:cNvCxnSpPr>
          <p:nvPr/>
        </p:nvCxnSpPr>
        <p:spPr bwMode="auto">
          <a:xfrm flipV="1">
            <a:off x="8709521" y="3063924"/>
            <a:ext cx="648425" cy="383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784841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asterSAF DW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26081" y="280197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R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4" name="Elbow Connector 73"/>
          <p:cNvCxnSpPr>
            <a:stCxn id="7" idx="2"/>
            <a:endCxn id="44" idx="0"/>
          </p:cNvCxnSpPr>
          <p:nvPr/>
        </p:nvCxnSpPr>
        <p:spPr bwMode="auto">
          <a:xfrm rot="5400000">
            <a:off x="10822572" y="2500269"/>
            <a:ext cx="873183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86" idx="2"/>
            <a:endCxn id="38" idx="0"/>
          </p:cNvCxnSpPr>
          <p:nvPr/>
        </p:nvCxnSpPr>
        <p:spPr bwMode="auto">
          <a:xfrm rot="5400000">
            <a:off x="4779655" y="2431573"/>
            <a:ext cx="74080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80543" y="5512004"/>
            <a:ext cx="4893197" cy="10172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 lnSpcReduction="1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MSAF AOL change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MSAF AOL to FE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374275" y="2433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(</a:t>
            </a:r>
            <a:r>
              <a:rPr lang="pt-BR" sz="1400" dirty="0">
                <a:solidFill>
                  <a:srgbClr val="FF0000"/>
                </a:solidFill>
              </a:rPr>
              <a:t>5</a:t>
            </a:r>
            <a:r>
              <a:rPr lang="pt-BR" sz="1400" dirty="0" smtClean="0">
                <a:solidFill>
                  <a:srgbClr val="FF0000"/>
                </a:solidFill>
              </a:rPr>
              <a:t>)</a:t>
            </a:r>
          </a:p>
        </p:txBody>
      </p:sp>
      <p:cxnSp>
        <p:nvCxnSpPr>
          <p:cNvPr id="122" name="Elbow Connector 121"/>
          <p:cNvCxnSpPr>
            <a:stCxn id="8" idx="2"/>
            <a:endCxn id="46" idx="0"/>
          </p:cNvCxnSpPr>
          <p:nvPr/>
        </p:nvCxnSpPr>
        <p:spPr bwMode="auto">
          <a:xfrm rot="5400000">
            <a:off x="6793000" y="2585075"/>
            <a:ext cx="412234" cy="28140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45" idx="0"/>
          </p:cNvCxnSpPr>
          <p:nvPr/>
        </p:nvCxnSpPr>
        <p:spPr bwMode="auto">
          <a:xfrm rot="16200000" flipH="1">
            <a:off x="9053567" y="2098634"/>
            <a:ext cx="417201" cy="125925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45" idx="0"/>
          </p:cNvCxnSpPr>
          <p:nvPr/>
        </p:nvCxnSpPr>
        <p:spPr bwMode="auto">
          <a:xfrm rot="5400000">
            <a:off x="9456026" y="2499446"/>
            <a:ext cx="873184" cy="164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3360359" y="279700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QAS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374918" y="279700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MSAF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10835187" y="293686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 AOL   PRD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467818" y="293686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AOL 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QAS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6434437" y="293189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MSAF AOL  DEV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195335" y="22230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cxnSp>
        <p:nvCxnSpPr>
          <p:cNvPr id="53" name="Elbow Connector 52"/>
          <p:cNvCxnSpPr>
            <a:stCxn id="85" idx="2"/>
            <a:endCxn id="42" idx="0"/>
          </p:cNvCxnSpPr>
          <p:nvPr/>
        </p:nvCxnSpPr>
        <p:spPr bwMode="auto">
          <a:xfrm rot="5400000">
            <a:off x="3416418" y="2429089"/>
            <a:ext cx="735836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7" name="Elbow Connector 56"/>
          <p:cNvCxnSpPr>
            <a:stCxn id="82" idx="2"/>
            <a:endCxn id="43" idx="0"/>
          </p:cNvCxnSpPr>
          <p:nvPr/>
        </p:nvCxnSpPr>
        <p:spPr bwMode="auto">
          <a:xfrm rot="5400000">
            <a:off x="430976" y="2429089"/>
            <a:ext cx="735836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43" idx="3"/>
            <a:endCxn id="42" idx="1"/>
          </p:cNvCxnSpPr>
          <p:nvPr/>
        </p:nvCxnSpPr>
        <p:spPr bwMode="auto">
          <a:xfrm>
            <a:off x="1222869" y="3088675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42" idx="3"/>
            <a:endCxn id="38" idx="1"/>
          </p:cNvCxnSpPr>
          <p:nvPr/>
        </p:nvCxnSpPr>
        <p:spPr bwMode="auto">
          <a:xfrm>
            <a:off x="4208310" y="3088675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46" idx="3"/>
            <a:endCxn id="45" idx="1"/>
          </p:cNvCxnSpPr>
          <p:nvPr/>
        </p:nvCxnSpPr>
        <p:spPr bwMode="auto">
          <a:xfrm>
            <a:off x="7282388" y="3223563"/>
            <a:ext cx="2185430" cy="496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Straight Arrow Connector 72"/>
          <p:cNvCxnSpPr>
            <a:stCxn id="45" idx="3"/>
            <a:endCxn id="44" idx="1"/>
          </p:cNvCxnSpPr>
          <p:nvPr/>
        </p:nvCxnSpPr>
        <p:spPr bwMode="auto">
          <a:xfrm flipV="1">
            <a:off x="10315769" y="3228529"/>
            <a:ext cx="519418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2" name="Elbow Connector 61"/>
          <p:cNvCxnSpPr>
            <a:stCxn id="61" idx="0"/>
            <a:endCxn id="43" idx="2"/>
          </p:cNvCxnSpPr>
          <p:nvPr/>
        </p:nvCxnSpPr>
        <p:spPr bwMode="auto">
          <a:xfrm rot="5400000" flipH="1" flipV="1">
            <a:off x="428880" y="3750356"/>
            <a:ext cx="74002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63" name="Elbow Connector 62"/>
          <p:cNvCxnSpPr>
            <a:stCxn id="68" idx="0"/>
            <a:endCxn id="42" idx="2"/>
          </p:cNvCxnSpPr>
          <p:nvPr/>
        </p:nvCxnSpPr>
        <p:spPr bwMode="auto">
          <a:xfrm rot="16200000" flipV="1">
            <a:off x="3414322" y="3750355"/>
            <a:ext cx="740028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66" name="Elbow Connector 65"/>
          <p:cNvCxnSpPr>
            <a:stCxn id="76" idx="0"/>
            <a:endCxn id="38" idx="2"/>
          </p:cNvCxnSpPr>
          <p:nvPr/>
        </p:nvCxnSpPr>
        <p:spPr bwMode="auto">
          <a:xfrm rot="5400000" flipH="1" flipV="1">
            <a:off x="4782527" y="3752840"/>
            <a:ext cx="73506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Flowchart: Document 68"/>
          <p:cNvSpPr/>
          <p:nvPr/>
        </p:nvSpPr>
        <p:spPr bwMode="auto">
          <a:xfrm>
            <a:off x="455307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Flowchart: Document 70"/>
          <p:cNvSpPr/>
          <p:nvPr/>
        </p:nvSpPr>
        <p:spPr bwMode="auto">
          <a:xfrm>
            <a:off x="3425887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Flowchart: Document 71"/>
          <p:cNvSpPr/>
          <p:nvPr/>
        </p:nvSpPr>
        <p:spPr bwMode="auto">
          <a:xfrm>
            <a:off x="4753661" y="214652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Flowchart: Document 74"/>
          <p:cNvSpPr/>
          <p:nvPr/>
        </p:nvSpPr>
        <p:spPr bwMode="auto">
          <a:xfrm>
            <a:off x="487171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Flowchart: Document 77"/>
          <p:cNvSpPr/>
          <p:nvPr/>
        </p:nvSpPr>
        <p:spPr bwMode="auto">
          <a:xfrm>
            <a:off x="3457751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Flowchart: Document 78"/>
          <p:cNvSpPr/>
          <p:nvPr/>
        </p:nvSpPr>
        <p:spPr bwMode="auto">
          <a:xfrm>
            <a:off x="4785525" y="388250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5179809" y="375748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374918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1867639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3360360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4726081" y="412037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7" name="Straight Arrow Connector 76"/>
          <p:cNvCxnSpPr>
            <a:stCxn id="61" idx="3"/>
            <a:endCxn id="65" idx="1"/>
          </p:cNvCxnSpPr>
          <p:nvPr/>
        </p:nvCxnSpPr>
        <p:spPr bwMode="auto">
          <a:xfrm>
            <a:off x="1222869" y="4412038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0" name="Straight Arrow Connector 79"/>
          <p:cNvCxnSpPr>
            <a:stCxn id="65" idx="3"/>
            <a:endCxn id="68" idx="1"/>
          </p:cNvCxnSpPr>
          <p:nvPr/>
        </p:nvCxnSpPr>
        <p:spPr bwMode="auto">
          <a:xfrm>
            <a:off x="2715590" y="4412038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1" name="Straight Arrow Connector 80"/>
          <p:cNvCxnSpPr>
            <a:stCxn id="68" idx="3"/>
            <a:endCxn id="76" idx="1"/>
          </p:cNvCxnSpPr>
          <p:nvPr/>
        </p:nvCxnSpPr>
        <p:spPr bwMode="auto">
          <a:xfrm>
            <a:off x="4208311" y="4412038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82" name="Rectangle 81"/>
          <p:cNvSpPr/>
          <p:nvPr/>
        </p:nvSpPr>
        <p:spPr bwMode="auto">
          <a:xfrm>
            <a:off x="374918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4" name="Rectangle 83"/>
          <p:cNvSpPr/>
          <p:nvPr/>
        </p:nvSpPr>
        <p:spPr bwMode="auto">
          <a:xfrm>
            <a:off x="1867639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3360360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4726081" y="147783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5" name="Straight Arrow Connector 94"/>
          <p:cNvCxnSpPr>
            <a:stCxn id="82" idx="3"/>
            <a:endCxn id="84" idx="1"/>
          </p:cNvCxnSpPr>
          <p:nvPr/>
        </p:nvCxnSpPr>
        <p:spPr bwMode="auto">
          <a:xfrm>
            <a:off x="1222869" y="176950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6" name="Straight Arrow Connector 95"/>
          <p:cNvCxnSpPr>
            <a:stCxn id="84" idx="3"/>
            <a:endCxn id="85" idx="1"/>
          </p:cNvCxnSpPr>
          <p:nvPr/>
        </p:nvCxnSpPr>
        <p:spPr bwMode="auto">
          <a:xfrm>
            <a:off x="2715590" y="176950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0" name="Straight Arrow Connector 99"/>
          <p:cNvCxnSpPr>
            <a:stCxn id="85" idx="3"/>
            <a:endCxn id="86" idx="1"/>
          </p:cNvCxnSpPr>
          <p:nvPr/>
        </p:nvCxnSpPr>
        <p:spPr bwMode="auto">
          <a:xfrm>
            <a:off x="4208311" y="1769504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1" name="Rectangle 100"/>
          <p:cNvSpPr/>
          <p:nvPr/>
        </p:nvSpPr>
        <p:spPr bwMode="auto">
          <a:xfrm>
            <a:off x="10817251" y="367005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R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9451529" y="366508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MSAF 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QAS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6466088" y="366508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MSAF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6" name="Straight Arrow Connector 105"/>
          <p:cNvCxnSpPr>
            <a:stCxn id="104" idx="3"/>
            <a:endCxn id="103" idx="1"/>
          </p:cNvCxnSpPr>
          <p:nvPr/>
        </p:nvCxnSpPr>
        <p:spPr bwMode="auto">
          <a:xfrm>
            <a:off x="7314039" y="3956754"/>
            <a:ext cx="213749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7" name="Straight Arrow Connector 106"/>
          <p:cNvCxnSpPr>
            <a:stCxn id="103" idx="3"/>
            <a:endCxn id="101" idx="1"/>
          </p:cNvCxnSpPr>
          <p:nvPr/>
        </p:nvCxnSpPr>
        <p:spPr bwMode="auto">
          <a:xfrm>
            <a:off x="10299480" y="3956754"/>
            <a:ext cx="517771" cy="496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Elbow Connector 107"/>
          <p:cNvCxnSpPr>
            <a:stCxn id="116" idx="0"/>
            <a:endCxn id="104" idx="2"/>
          </p:cNvCxnSpPr>
          <p:nvPr/>
        </p:nvCxnSpPr>
        <p:spPr bwMode="auto">
          <a:xfrm rot="5400000" flipH="1" flipV="1">
            <a:off x="6647050" y="4491435"/>
            <a:ext cx="48602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110" name="Elbow Connector 109"/>
          <p:cNvCxnSpPr>
            <a:stCxn id="118" idx="0"/>
            <a:endCxn id="103" idx="2"/>
          </p:cNvCxnSpPr>
          <p:nvPr/>
        </p:nvCxnSpPr>
        <p:spPr bwMode="auto">
          <a:xfrm rot="16200000" flipV="1">
            <a:off x="9632492" y="4491434"/>
            <a:ext cx="486028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cxnSp>
        <p:nvCxnSpPr>
          <p:cNvPr id="111" name="Elbow Connector 110"/>
          <p:cNvCxnSpPr>
            <a:stCxn id="119" idx="0"/>
            <a:endCxn id="101" idx="2"/>
          </p:cNvCxnSpPr>
          <p:nvPr/>
        </p:nvCxnSpPr>
        <p:spPr bwMode="auto">
          <a:xfrm rot="5400000" flipH="1" flipV="1">
            <a:off x="11000697" y="4493919"/>
            <a:ext cx="48106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 w="med" len="med"/>
          </a:ln>
          <a:effectLst/>
        </p:spPr>
      </p:cxnSp>
      <p:sp>
        <p:nvSpPr>
          <p:cNvPr id="112" name="Flowchart: Document 111"/>
          <p:cNvSpPr/>
          <p:nvPr/>
        </p:nvSpPr>
        <p:spPr bwMode="auto">
          <a:xfrm>
            <a:off x="6578341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3" name="Flowchart: Document 112"/>
          <p:cNvSpPr/>
          <p:nvPr/>
        </p:nvSpPr>
        <p:spPr bwMode="auto">
          <a:xfrm>
            <a:off x="9548921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4" name="Flowchart: Document 113"/>
          <p:cNvSpPr/>
          <p:nvPr/>
        </p:nvSpPr>
        <p:spPr bwMode="auto">
          <a:xfrm>
            <a:off x="10876695" y="449658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6" name="Rectangle 115"/>
          <p:cNvSpPr/>
          <p:nvPr/>
        </p:nvSpPr>
        <p:spPr bwMode="auto">
          <a:xfrm>
            <a:off x="6466088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117" name="Rectangle 116"/>
          <p:cNvSpPr/>
          <p:nvPr/>
        </p:nvSpPr>
        <p:spPr bwMode="auto">
          <a:xfrm>
            <a:off x="7958809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8" name="Rectangle 117"/>
          <p:cNvSpPr/>
          <p:nvPr/>
        </p:nvSpPr>
        <p:spPr bwMode="auto">
          <a:xfrm>
            <a:off x="9451530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10817251" y="473444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20" name="Straight Arrow Connector 119"/>
          <p:cNvCxnSpPr>
            <a:stCxn id="116" idx="3"/>
            <a:endCxn id="117" idx="1"/>
          </p:cNvCxnSpPr>
          <p:nvPr/>
        </p:nvCxnSpPr>
        <p:spPr bwMode="auto">
          <a:xfrm>
            <a:off x="7314039" y="502611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7" idx="3"/>
            <a:endCxn id="118" idx="1"/>
          </p:cNvCxnSpPr>
          <p:nvPr/>
        </p:nvCxnSpPr>
        <p:spPr bwMode="auto">
          <a:xfrm>
            <a:off x="8806760" y="502611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3" name="Straight Arrow Connector 122"/>
          <p:cNvCxnSpPr>
            <a:stCxn id="118" idx="3"/>
            <a:endCxn id="119" idx="1"/>
          </p:cNvCxnSpPr>
          <p:nvPr/>
        </p:nvCxnSpPr>
        <p:spPr bwMode="auto">
          <a:xfrm>
            <a:off x="10299481" y="502611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4" name="TextBox 123"/>
          <p:cNvSpPr txBox="1"/>
          <p:nvPr/>
        </p:nvSpPr>
        <p:spPr>
          <a:xfrm>
            <a:off x="10338287" y="285421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1339289" y="436628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37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ERASA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588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880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5" name="Elbow Connector 44"/>
          <p:cNvCxnSpPr>
            <a:stCxn id="29" idx="2"/>
            <a:endCxn id="66" idx="3"/>
          </p:cNvCxnSpPr>
          <p:nvPr/>
        </p:nvCxnSpPr>
        <p:spPr bwMode="auto">
          <a:xfrm rot="16200000" flipH="1">
            <a:off x="7803753" y="2287960"/>
            <a:ext cx="927981" cy="271948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6" idx="3"/>
          </p:cNvCxnSpPr>
          <p:nvPr/>
        </p:nvCxnSpPr>
        <p:spPr bwMode="auto">
          <a:xfrm rot="16200000" flipH="1">
            <a:off x="8550113" y="3034320"/>
            <a:ext cx="927981" cy="122676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6" idx="3"/>
          </p:cNvCxnSpPr>
          <p:nvPr/>
        </p:nvCxnSpPr>
        <p:spPr bwMode="auto">
          <a:xfrm rot="5400000">
            <a:off x="9296474" y="3514725"/>
            <a:ext cx="927981" cy="265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35" idx="2"/>
            <a:endCxn id="66" idx="3"/>
          </p:cNvCxnSpPr>
          <p:nvPr/>
        </p:nvCxnSpPr>
        <p:spPr bwMode="auto">
          <a:xfrm rot="5400000">
            <a:off x="9973589" y="2826119"/>
            <a:ext cx="939473" cy="163167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395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389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964" y="5332948"/>
            <a:ext cx="4790642" cy="12104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ap SERASA http link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888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304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112689" y="46424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247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245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916685" y="3730534"/>
            <a:ext cx="456801" cy="309093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?</a:t>
            </a:r>
          </a:p>
        </p:txBody>
      </p:sp>
      <p:sp>
        <p:nvSpPr>
          <p:cNvPr id="66" name="Cloud Callout 65"/>
          <p:cNvSpPr/>
          <p:nvPr/>
        </p:nvSpPr>
        <p:spPr bwMode="auto">
          <a:xfrm>
            <a:off x="8916685" y="4066040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RASA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523922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redito Rural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 Rural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Rural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/UA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Crédito</a:t>
            </a:r>
            <a:r>
              <a:rPr lang="en-US" sz="14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Rural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redito Rural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Credito Rural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3393653" y="434517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nk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2" name="Elbow Connector 91"/>
          <p:cNvCxnSpPr>
            <a:stCxn id="91" idx="3"/>
            <a:endCxn id="49" idx="2"/>
          </p:cNvCxnSpPr>
          <p:nvPr/>
        </p:nvCxnSpPr>
        <p:spPr bwMode="auto">
          <a:xfrm flipV="1">
            <a:off x="4241604" y="3890345"/>
            <a:ext cx="892674" cy="74649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6356725" y="434286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nk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Flowchart: Document 53"/>
          <p:cNvSpPr/>
          <p:nvPr/>
        </p:nvSpPr>
        <p:spPr bwMode="auto">
          <a:xfrm>
            <a:off x="5262218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5" name="Elbow Connector 54"/>
          <p:cNvCxnSpPr>
            <a:stCxn id="50" idx="3"/>
            <a:endCxn id="51" idx="2"/>
          </p:cNvCxnSpPr>
          <p:nvPr/>
        </p:nvCxnSpPr>
        <p:spPr bwMode="auto">
          <a:xfrm flipV="1">
            <a:off x="7204676" y="3923783"/>
            <a:ext cx="2196405" cy="7107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6" name="Elbow Connector 55"/>
          <p:cNvCxnSpPr>
            <a:stCxn id="50" idx="3"/>
            <a:endCxn id="52" idx="2"/>
          </p:cNvCxnSpPr>
          <p:nvPr/>
        </p:nvCxnSpPr>
        <p:spPr bwMode="auto">
          <a:xfrm flipV="1">
            <a:off x="7204676" y="3923783"/>
            <a:ext cx="3927487" cy="710754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7" name="Flowchart: Document 56"/>
          <p:cNvSpPr/>
          <p:nvPr/>
        </p:nvSpPr>
        <p:spPr bwMode="auto">
          <a:xfrm>
            <a:off x="9009854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Flowchart: Document 58"/>
          <p:cNvSpPr/>
          <p:nvPr/>
        </p:nvSpPr>
        <p:spPr bwMode="auto">
          <a:xfrm>
            <a:off x="10702389" y="400647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0254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asy IRPJ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Easy IRPJ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Easy IRPJ Suppor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Easy IRPJ 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Easy IRPJ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Easy IRPJ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2546014" y="33334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Easy IRPJ 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054709" y="2418155"/>
            <a:ext cx="1136409" cy="69415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endCxn id="50" idx="0"/>
          </p:cNvCxnSpPr>
          <p:nvPr/>
        </p:nvCxnSpPr>
        <p:spPr bwMode="auto">
          <a:xfrm rot="5400000">
            <a:off x="2864767" y="2295901"/>
            <a:ext cx="1142759" cy="9323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</p:spTree>
    <p:extLst>
      <p:ext uri="{BB962C8B-B14F-4D97-AF65-F5344CB8AC3E}">
        <p14:creationId xmlns:p14="http://schemas.microsoft.com/office/powerpoint/2010/main" val="6904344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VIM Satellite Landscape</a:t>
            </a:r>
            <a:endParaRPr lang="pt-B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342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708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204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697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190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436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352236" y="391446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857486" y="391446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 flipV="1">
            <a:off x="7200187" y="4206134"/>
            <a:ext cx="657299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364209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 flipV="1">
            <a:off x="8705437" y="4205422"/>
            <a:ext cx="658772" cy="7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732818" y="3913754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>
            <a:off x="10212160" y="4205422"/>
            <a:ext cx="520658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104" idx="0"/>
          </p:cNvCxnSpPr>
          <p:nvPr/>
        </p:nvCxnSpPr>
        <p:spPr bwMode="auto">
          <a:xfrm rot="16200000" flipH="1">
            <a:off x="9419893" y="2410227"/>
            <a:ext cx="708578" cy="1548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112" idx="0"/>
          </p:cNvCxnSpPr>
          <p:nvPr/>
        </p:nvCxnSpPr>
        <p:spPr bwMode="auto">
          <a:xfrm rot="16200000" flipH="1">
            <a:off x="10790190" y="2405650"/>
            <a:ext cx="708577" cy="2463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942234" y="5608114"/>
            <a:ext cx="4353129" cy="117693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ECC </a:t>
            </a:r>
            <a:r>
              <a:rPr lang="pt-BR" sz="1200" dirty="0" smtClean="0"/>
              <a:t>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GRCNFE TRs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211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13429" y="421399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359138" y="2781431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55182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1847903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2" name="Straight Arrow Connector 61"/>
          <p:cNvCxnSpPr>
            <a:stCxn id="60" idx="3"/>
            <a:endCxn id="61" idx="1"/>
          </p:cNvCxnSpPr>
          <p:nvPr/>
        </p:nvCxnSpPr>
        <p:spPr bwMode="auto">
          <a:xfrm>
            <a:off x="1203133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3340624" y="393110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1" idx="3"/>
            <a:endCxn id="63" idx="1"/>
          </p:cNvCxnSpPr>
          <p:nvPr/>
        </p:nvCxnSpPr>
        <p:spPr bwMode="auto">
          <a:xfrm>
            <a:off x="2695854" y="422277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4706345" y="39196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 flipV="1">
            <a:off x="4188575" y="4211279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89" idx="2"/>
            <a:endCxn id="78" idx="0"/>
          </p:cNvCxnSpPr>
          <p:nvPr/>
        </p:nvCxnSpPr>
        <p:spPr bwMode="auto">
          <a:xfrm rot="5400000">
            <a:off x="3412857" y="2425728"/>
            <a:ext cx="7114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90" idx="2"/>
            <a:endCxn id="79" idx="0"/>
          </p:cNvCxnSpPr>
          <p:nvPr/>
        </p:nvCxnSpPr>
        <p:spPr bwMode="auto">
          <a:xfrm rot="16200000" flipH="1">
            <a:off x="4784490" y="2419816"/>
            <a:ext cx="711400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5567914" y="147220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1863684" y="278143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3344580" y="278142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722126" y="27814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6357024" y="2776095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7861570" y="2776094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G</a:t>
            </a: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N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4" name="Elbow Connector 83"/>
          <p:cNvCxnSpPr>
            <a:stCxn id="88" idx="2"/>
            <a:endCxn id="77" idx="0"/>
          </p:cNvCxnSpPr>
          <p:nvPr/>
        </p:nvCxnSpPr>
        <p:spPr bwMode="auto">
          <a:xfrm rot="16200000" flipH="1">
            <a:off x="1926047" y="2419817"/>
            <a:ext cx="711402" cy="118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87" idx="2"/>
            <a:endCxn id="110" idx="0"/>
          </p:cNvCxnSpPr>
          <p:nvPr/>
        </p:nvCxnSpPr>
        <p:spPr bwMode="auto">
          <a:xfrm rot="5400000">
            <a:off x="427414" y="2425729"/>
            <a:ext cx="711403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0" idx="0"/>
            <a:endCxn id="110" idx="2"/>
          </p:cNvCxnSpPr>
          <p:nvPr/>
        </p:nvCxnSpPr>
        <p:spPr bwMode="auto">
          <a:xfrm rot="5400000" flipH="1" flipV="1">
            <a:off x="497968" y="3645957"/>
            <a:ext cx="566337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5" name="Elbow Connector 94"/>
          <p:cNvCxnSpPr>
            <a:stCxn id="61" idx="0"/>
            <a:endCxn id="77" idx="2"/>
          </p:cNvCxnSpPr>
          <p:nvPr/>
        </p:nvCxnSpPr>
        <p:spPr bwMode="auto">
          <a:xfrm rot="5400000" flipH="1" flipV="1">
            <a:off x="1996600" y="3640044"/>
            <a:ext cx="56633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6" name="Elbow Connector 95"/>
          <p:cNvCxnSpPr>
            <a:stCxn id="63" idx="0"/>
            <a:endCxn id="78" idx="2"/>
          </p:cNvCxnSpPr>
          <p:nvPr/>
        </p:nvCxnSpPr>
        <p:spPr bwMode="auto">
          <a:xfrm rot="5400000" flipH="1" flipV="1">
            <a:off x="3483409" y="3645956"/>
            <a:ext cx="566339" cy="3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65" idx="0"/>
            <a:endCxn id="79" idx="2"/>
          </p:cNvCxnSpPr>
          <p:nvPr/>
        </p:nvCxnSpPr>
        <p:spPr bwMode="auto">
          <a:xfrm rot="5400000" flipH="1" flipV="1">
            <a:off x="4860787" y="3634297"/>
            <a:ext cx="554848" cy="157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4" name="Rectangle 103"/>
          <p:cNvSpPr/>
          <p:nvPr/>
        </p:nvSpPr>
        <p:spPr bwMode="auto">
          <a:xfrm>
            <a:off x="9357946" y="277225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GN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2" name="Rectangle 111"/>
          <p:cNvSpPr/>
          <p:nvPr/>
        </p:nvSpPr>
        <p:spPr bwMode="auto">
          <a:xfrm>
            <a:off x="10732818" y="277225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LN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3" name="Elbow Connector 112"/>
          <p:cNvCxnSpPr>
            <a:stCxn id="4" idx="2"/>
            <a:endCxn id="80" idx="0"/>
          </p:cNvCxnSpPr>
          <p:nvPr/>
        </p:nvCxnSpPr>
        <p:spPr bwMode="auto">
          <a:xfrm rot="5400000">
            <a:off x="6424792" y="2419886"/>
            <a:ext cx="71241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5" name="Elbow Connector 114"/>
          <p:cNvCxnSpPr>
            <a:stCxn id="5" idx="2"/>
            <a:endCxn id="81" idx="0"/>
          </p:cNvCxnSpPr>
          <p:nvPr/>
        </p:nvCxnSpPr>
        <p:spPr bwMode="auto">
          <a:xfrm rot="16200000" flipH="1">
            <a:off x="7923425" y="2413973"/>
            <a:ext cx="712416" cy="1182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0" name="TextBox 129"/>
          <p:cNvSpPr txBox="1"/>
          <p:nvPr/>
        </p:nvSpPr>
        <p:spPr>
          <a:xfrm>
            <a:off x="11171313" y="341066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68" name="Straight Arrow Connector 67"/>
          <p:cNvCxnSpPr>
            <a:stCxn id="110" idx="3"/>
            <a:endCxn id="77" idx="1"/>
          </p:cNvCxnSpPr>
          <p:nvPr/>
        </p:nvCxnSpPr>
        <p:spPr bwMode="auto">
          <a:xfrm flipV="1">
            <a:off x="1207089" y="3073098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6" name="Straight Arrow Connector 75"/>
          <p:cNvCxnSpPr>
            <a:stCxn id="77" idx="3"/>
            <a:endCxn id="78" idx="1"/>
          </p:cNvCxnSpPr>
          <p:nvPr/>
        </p:nvCxnSpPr>
        <p:spPr bwMode="auto">
          <a:xfrm flipV="1">
            <a:off x="2711635" y="3073097"/>
            <a:ext cx="63294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 bwMode="auto">
          <a:xfrm flipV="1">
            <a:off x="4192531" y="3073096"/>
            <a:ext cx="529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Straight Arrow Connector 82"/>
          <p:cNvCxnSpPr>
            <a:stCxn id="80" idx="3"/>
            <a:endCxn id="81" idx="1"/>
          </p:cNvCxnSpPr>
          <p:nvPr/>
        </p:nvCxnSpPr>
        <p:spPr bwMode="auto">
          <a:xfrm flipV="1">
            <a:off x="7204975" y="3067762"/>
            <a:ext cx="656595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08" name="Straight Arrow Connector 107"/>
          <p:cNvCxnSpPr>
            <a:stCxn id="104" idx="3"/>
            <a:endCxn id="112" idx="1"/>
          </p:cNvCxnSpPr>
          <p:nvPr/>
        </p:nvCxnSpPr>
        <p:spPr bwMode="auto">
          <a:xfrm flipV="1">
            <a:off x="10205897" y="3063923"/>
            <a:ext cx="526921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9" name="Rectangle 108"/>
          <p:cNvSpPr/>
          <p:nvPr/>
        </p:nvSpPr>
        <p:spPr bwMode="auto">
          <a:xfrm>
            <a:off x="532817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2025538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518259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4883980" y="1796419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8" name="Straight Arrow Connector 117"/>
          <p:cNvCxnSpPr>
            <a:stCxn id="109" idx="3"/>
            <a:endCxn id="111" idx="1"/>
          </p:cNvCxnSpPr>
          <p:nvPr/>
        </p:nvCxnSpPr>
        <p:spPr bwMode="auto">
          <a:xfrm>
            <a:off x="1380768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0" name="Straight Arrow Connector 119"/>
          <p:cNvCxnSpPr>
            <a:stCxn id="111" idx="3"/>
            <a:endCxn id="114" idx="1"/>
          </p:cNvCxnSpPr>
          <p:nvPr/>
        </p:nvCxnSpPr>
        <p:spPr bwMode="auto">
          <a:xfrm>
            <a:off x="2873489" y="2088087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1" name="Straight Arrow Connector 120"/>
          <p:cNvCxnSpPr>
            <a:stCxn id="114" idx="3"/>
            <a:endCxn id="117" idx="1"/>
          </p:cNvCxnSpPr>
          <p:nvPr/>
        </p:nvCxnSpPr>
        <p:spPr bwMode="auto">
          <a:xfrm>
            <a:off x="4366210" y="2088087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776473" y="239781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358991" y="23960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831461" y="239352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55265" y="239125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830865" y="353661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29" name="TextBox 128"/>
          <p:cNvSpPr txBox="1"/>
          <p:nvPr/>
        </p:nvSpPr>
        <p:spPr>
          <a:xfrm>
            <a:off x="2348888" y="353661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03674" y="353371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132" name="Cloud Callout 131"/>
          <p:cNvSpPr/>
          <p:nvPr/>
        </p:nvSpPr>
        <p:spPr bwMode="auto">
          <a:xfrm>
            <a:off x="2242060" y="512238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133" name="Elbow Connector 132"/>
          <p:cNvCxnSpPr>
            <a:stCxn id="132" idx="3"/>
            <a:endCxn id="60" idx="2"/>
          </p:cNvCxnSpPr>
          <p:nvPr/>
        </p:nvCxnSpPr>
        <p:spPr bwMode="auto">
          <a:xfrm rot="16200000" flipV="1">
            <a:off x="1539211" y="3754385"/>
            <a:ext cx="653598" cy="217370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4" name="Elbow Connector 133"/>
          <p:cNvCxnSpPr>
            <a:stCxn id="132" idx="3"/>
            <a:endCxn id="61" idx="2"/>
          </p:cNvCxnSpPr>
          <p:nvPr/>
        </p:nvCxnSpPr>
        <p:spPr bwMode="auto">
          <a:xfrm rot="16200000" flipV="1">
            <a:off x="2285571" y="4500746"/>
            <a:ext cx="653598" cy="68098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5" name="Elbow Connector 134"/>
          <p:cNvCxnSpPr>
            <a:stCxn id="132" idx="3"/>
            <a:endCxn id="63" idx="2"/>
          </p:cNvCxnSpPr>
          <p:nvPr/>
        </p:nvCxnSpPr>
        <p:spPr bwMode="auto">
          <a:xfrm rot="5400000" flipH="1" flipV="1">
            <a:off x="3031931" y="4435368"/>
            <a:ext cx="653598" cy="81173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36" name="Elbow Connector 135"/>
          <p:cNvCxnSpPr>
            <a:stCxn id="132" idx="3"/>
            <a:endCxn id="65" idx="2"/>
          </p:cNvCxnSpPr>
          <p:nvPr/>
        </p:nvCxnSpPr>
        <p:spPr bwMode="auto">
          <a:xfrm rot="5400000" flipH="1" flipV="1">
            <a:off x="3709046" y="3746761"/>
            <a:ext cx="665090" cy="21774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37" name="TextBox 136"/>
          <p:cNvSpPr txBox="1"/>
          <p:nvPr/>
        </p:nvSpPr>
        <p:spPr>
          <a:xfrm>
            <a:off x="2719824" y="459798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357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9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88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081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69" name="Elbow Connector 168"/>
          <p:cNvCxnSpPr>
            <a:stCxn id="32" idx="0"/>
            <a:endCxn id="104" idx="2"/>
          </p:cNvCxnSpPr>
          <p:nvPr/>
        </p:nvCxnSpPr>
        <p:spPr bwMode="auto">
          <a:xfrm rot="16200000" flipV="1">
            <a:off x="9505973" y="3631541"/>
            <a:ext cx="558163" cy="626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2" name="Elbow Connector 171"/>
          <p:cNvCxnSpPr>
            <a:stCxn id="35" idx="0"/>
            <a:endCxn id="112" idx="2"/>
          </p:cNvCxnSpPr>
          <p:nvPr/>
        </p:nvCxnSpPr>
        <p:spPr bwMode="auto">
          <a:xfrm rot="5400000" flipH="1" flipV="1">
            <a:off x="10877712" y="3634672"/>
            <a:ext cx="558164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6801908" y="251160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384426" y="250987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9856896" y="250731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11180700" y="250504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6958670" y="352274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0" name="TextBox 199"/>
          <p:cNvSpPr txBox="1"/>
          <p:nvPr/>
        </p:nvSpPr>
        <p:spPr>
          <a:xfrm>
            <a:off x="8476693" y="352274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1" name="TextBox 200"/>
          <p:cNvSpPr txBox="1"/>
          <p:nvPr/>
        </p:nvSpPr>
        <p:spPr>
          <a:xfrm>
            <a:off x="10031479" y="351984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202" name="Cloud Callout 201"/>
          <p:cNvSpPr/>
          <p:nvPr/>
        </p:nvSpPr>
        <p:spPr bwMode="auto">
          <a:xfrm>
            <a:off x="8408685" y="5059894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latin typeface="Arial" charset="0"/>
              </a:rPr>
              <a:t>SEFAZ</a:t>
            </a:r>
          </a:p>
        </p:txBody>
      </p:sp>
      <p:cxnSp>
        <p:nvCxnSpPr>
          <p:cNvPr id="203" name="Elbow Connector 202"/>
          <p:cNvCxnSpPr>
            <a:stCxn id="202" idx="3"/>
            <a:endCxn id="29" idx="2"/>
          </p:cNvCxnSpPr>
          <p:nvPr/>
        </p:nvCxnSpPr>
        <p:spPr bwMode="auto">
          <a:xfrm rot="16200000" flipV="1">
            <a:off x="7643976" y="3630038"/>
            <a:ext cx="607746" cy="234327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" name="Elbow Connector 203"/>
          <p:cNvCxnSpPr>
            <a:stCxn id="202" idx="3"/>
            <a:endCxn id="30" idx="2"/>
          </p:cNvCxnSpPr>
          <p:nvPr/>
        </p:nvCxnSpPr>
        <p:spPr bwMode="auto">
          <a:xfrm rot="16200000" flipV="1">
            <a:off x="8396601" y="4382663"/>
            <a:ext cx="607747" cy="83802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5" name="Elbow Connector 204"/>
          <p:cNvCxnSpPr>
            <a:stCxn id="202" idx="3"/>
            <a:endCxn id="32" idx="2"/>
          </p:cNvCxnSpPr>
          <p:nvPr/>
        </p:nvCxnSpPr>
        <p:spPr bwMode="auto">
          <a:xfrm rot="5400000" flipH="1" flipV="1">
            <a:off x="9149606" y="4466970"/>
            <a:ext cx="608459" cy="66869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6" name="Elbow Connector 205"/>
          <p:cNvCxnSpPr>
            <a:stCxn id="202" idx="3"/>
            <a:endCxn id="35" idx="2"/>
          </p:cNvCxnSpPr>
          <p:nvPr/>
        </p:nvCxnSpPr>
        <p:spPr bwMode="auto">
          <a:xfrm rot="5400000" flipH="1" flipV="1">
            <a:off x="9833911" y="3782665"/>
            <a:ext cx="608459" cy="20373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07" name="TextBox 206"/>
          <p:cNvSpPr txBox="1"/>
          <p:nvPr/>
        </p:nvSpPr>
        <p:spPr>
          <a:xfrm>
            <a:off x="8874103" y="451443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212" name="Elbow Connector 211"/>
          <p:cNvCxnSpPr>
            <a:stCxn id="29" idx="0"/>
            <a:endCxn id="80" idx="2"/>
          </p:cNvCxnSpPr>
          <p:nvPr/>
        </p:nvCxnSpPr>
        <p:spPr bwMode="auto">
          <a:xfrm rot="5400000" flipH="1" flipV="1">
            <a:off x="6501088" y="3634555"/>
            <a:ext cx="555037" cy="47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15" name="Elbow Connector 214"/>
          <p:cNvCxnSpPr>
            <a:stCxn id="30" idx="0"/>
            <a:endCxn id="81" idx="2"/>
          </p:cNvCxnSpPr>
          <p:nvPr/>
        </p:nvCxnSpPr>
        <p:spPr bwMode="auto">
          <a:xfrm rot="5400000" flipH="1" flipV="1">
            <a:off x="8005986" y="3634906"/>
            <a:ext cx="555037" cy="408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20" name="TextBox 219"/>
          <p:cNvSpPr txBox="1"/>
          <p:nvPr/>
        </p:nvSpPr>
        <p:spPr>
          <a:xfrm>
            <a:off x="10231509" y="31836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cxnSp>
        <p:nvCxnSpPr>
          <p:cNvPr id="124" name="Straight Arrow Connector 123"/>
          <p:cNvCxnSpPr>
            <a:stCxn id="81" idx="3"/>
            <a:endCxn id="104" idx="1"/>
          </p:cNvCxnSpPr>
          <p:nvPr/>
        </p:nvCxnSpPr>
        <p:spPr bwMode="auto">
          <a:xfrm flipV="1">
            <a:off x="8709521" y="3063924"/>
            <a:ext cx="648425" cy="3838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7" name="Rectangle 106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93823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iller Direct Solution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715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007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6484023" y="3848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5400000">
            <a:off x="6639133" y="3579580"/>
            <a:ext cx="537735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1" idx="0"/>
          </p:cNvCxnSpPr>
          <p:nvPr/>
        </p:nvCxnSpPr>
        <p:spPr bwMode="auto">
          <a:xfrm rot="16200000" flipH="1">
            <a:off x="8134758" y="3576676"/>
            <a:ext cx="535823" cy="389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2" idx="0"/>
          </p:cNvCxnSpPr>
          <p:nvPr/>
        </p:nvCxnSpPr>
        <p:spPr bwMode="auto">
          <a:xfrm rot="16200000" flipH="1">
            <a:off x="9627416" y="3576739"/>
            <a:ext cx="535822" cy="3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84901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Pr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268" y="3574116"/>
            <a:ext cx="549791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522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516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9628" y="5179722"/>
            <a:ext cx="5125017" cy="14424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OSGT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Connect OSGT to </a:t>
            </a:r>
            <a:r>
              <a:rPr lang="pt-BR" sz="1200" dirty="0" smtClean="0"/>
              <a:t>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Automatically create MD in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onfiguration tables for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023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015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431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465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5); (7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374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372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84231" y="342138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458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980641" y="384653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IS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9473236" y="384653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UA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425595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903599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65" name="Straight Arrow Connector 64"/>
          <p:cNvCxnSpPr>
            <a:stCxn id="39" idx="3"/>
            <a:endCxn id="61" idx="1"/>
          </p:cNvCxnSpPr>
          <p:nvPr/>
        </p:nvCxnSpPr>
        <p:spPr bwMode="auto">
          <a:xfrm flipV="1">
            <a:off x="7331974" y="4138204"/>
            <a:ext cx="648667" cy="19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61" idx="3"/>
            <a:endCxn id="62" idx="1"/>
          </p:cNvCxnSpPr>
          <p:nvPr/>
        </p:nvCxnSpPr>
        <p:spPr bwMode="auto">
          <a:xfrm flipV="1">
            <a:off x="8828592" y="4138203"/>
            <a:ext cx="644644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62" idx="3"/>
            <a:endCxn id="58" idx="1"/>
          </p:cNvCxnSpPr>
          <p:nvPr/>
        </p:nvCxnSpPr>
        <p:spPr bwMode="auto">
          <a:xfrm>
            <a:off x="10321187" y="4138203"/>
            <a:ext cx="514000" cy="247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11361364" y="227837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  <p:sp>
        <p:nvSpPr>
          <p:cNvPr id="48" name="Rectangle 47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981033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7337" y="-150676"/>
            <a:ext cx="11271251" cy="812800"/>
          </a:xfrm>
        </p:spPr>
        <p:txBody>
          <a:bodyPr/>
          <a:lstStyle/>
          <a:p>
            <a:r>
              <a:rPr lang="en-US" dirty="0" smtClean="0"/>
              <a:t>Satellite Status </a:t>
            </a:r>
            <a:r>
              <a:rPr lang="en-US" dirty="0"/>
              <a:t>report – Week of </a:t>
            </a:r>
            <a:r>
              <a:rPr lang="en-US" dirty="0" smtClean="0"/>
              <a:t>2016-11-01</a:t>
            </a:r>
            <a:br>
              <a:rPr lang="en-US" dirty="0" smtClean="0"/>
            </a:br>
            <a:r>
              <a:rPr lang="en-US" sz="1200" dirty="0">
                <a:solidFill>
                  <a:schemeClr val="accent1"/>
                </a:solidFill>
              </a:rPr>
              <a:t>Reason for status</a:t>
            </a:r>
            <a:r>
              <a:rPr lang="en-US" sz="1200" dirty="0" smtClean="0">
                <a:solidFill>
                  <a:schemeClr val="accent1"/>
                </a:solidFill>
              </a:rPr>
              <a:t>: </a:t>
            </a:r>
            <a:r>
              <a:rPr lang="en-US" sz="1100" dirty="0" smtClean="0">
                <a:solidFill>
                  <a:schemeClr val="accent1"/>
                </a:solidFill>
              </a:rPr>
              <a:t>Major satellites on track, Issues being solved in Unit Test</a:t>
            </a:r>
            <a:endParaRPr lang="en-US" sz="1600" dirty="0">
              <a:solidFill>
                <a:schemeClr val="accent1"/>
              </a:solidFill>
            </a:endParaRPr>
          </a:p>
        </p:txBody>
      </p:sp>
      <p:grpSp>
        <p:nvGrpSpPr>
          <p:cNvPr id="20" name="Group 19"/>
          <p:cNvGrpSpPr/>
          <p:nvPr>
            <p:custDataLst>
              <p:tags r:id="rId2"/>
            </p:custDataLst>
          </p:nvPr>
        </p:nvGrpSpPr>
        <p:grpSpPr>
          <a:xfrm>
            <a:off x="10892441" y="23343"/>
            <a:ext cx="1058108" cy="441736"/>
            <a:chOff x="7740352" y="332656"/>
            <a:chExt cx="1058108" cy="441736"/>
          </a:xfrm>
        </p:grpSpPr>
        <p:sp>
          <p:nvSpPr>
            <p:cNvPr id="12" name="Rectangle 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8048538" y="24470"/>
              <a:ext cx="441736" cy="105810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Oval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7788484" y="419308"/>
              <a:ext cx="275658" cy="275657"/>
            </a:xfrm>
            <a:prstGeom prst="ellipse">
              <a:avLst/>
            </a:prstGeom>
            <a:solidFill>
              <a:srgbClr val="FF0000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non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Oval 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8472806" y="419308"/>
              <a:ext cx="275658" cy="275657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Oval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8123012" y="414354"/>
              <a:ext cx="275658" cy="275657"/>
            </a:xfrm>
            <a:prstGeom prst="ellipse">
              <a:avLst/>
            </a:prstGeom>
            <a:solidFill>
              <a:srgbClr val="FFC000"/>
            </a:solidFill>
            <a:ln w="2857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vert="horz" wrap="none" lIns="72000" tIns="72000" rIns="72000" bIns="72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93031" y="6195700"/>
            <a:ext cx="3132348" cy="5103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050" dirty="0">
                <a:latin typeface="+mj-lt"/>
                <a:cs typeface="Arial" pitchFamily="34" charset="0"/>
                <a:sym typeface="Wingdings 2" panose="05020102010507070707" pitchFamily="18" charset="2"/>
              </a:rPr>
              <a:t>Rating:</a:t>
            </a:r>
          </a:p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16A43F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cs typeface="Arial" pitchFamily="34" charset="0"/>
                <a:sym typeface="Wingdings 2" panose="05020102010507070707" pitchFamily="18" charset="2"/>
              </a:rPr>
              <a:t> Fully on track, no intervention needed</a:t>
            </a:r>
          </a:p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FDB508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solidFill>
                  <a:srgbClr val="FFC000"/>
                </a:solidFill>
                <a:cs typeface="Arial" pitchFamily="34" charset="0"/>
                <a:sym typeface="Wingdings 2" panose="05020102010507070707" pitchFamily="18" charset="2"/>
              </a:rPr>
              <a:t> </a:t>
            </a:r>
            <a:r>
              <a:rPr lang="en-GB" sz="800" dirty="0"/>
              <a:t>Off-track, but a credible plan is in-place to get back on-track</a:t>
            </a:r>
            <a:endParaRPr lang="en-US" sz="800" dirty="0">
              <a:cs typeface="Arial" pitchFamily="34" charset="0"/>
              <a:sym typeface="Wingdings 2" panose="05020102010507070707" pitchFamily="18" charset="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731671" y="6366190"/>
            <a:ext cx="3998278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US" sz="800" dirty="0">
                <a:solidFill>
                  <a:srgbClr val="FF0000"/>
                </a:solidFill>
                <a:cs typeface="Arial" pitchFamily="34" charset="0"/>
                <a:sym typeface="Wingdings 2" panose="05020102010507070707" pitchFamily="18" charset="2"/>
              </a:rPr>
              <a:t> </a:t>
            </a:r>
            <a:r>
              <a:rPr lang="en-GB" sz="800" dirty="0"/>
              <a:t>Off-track and no credible plan in-place to get back on-track. Intervention required.</a:t>
            </a:r>
          </a:p>
          <a:p>
            <a:pPr>
              <a:lnSpc>
                <a:spcPts val="900"/>
              </a:lnSpc>
            </a:pPr>
            <a:r>
              <a:rPr lang="en-US" sz="800" dirty="0">
                <a:solidFill>
                  <a:srgbClr val="0070C0"/>
                </a:solidFill>
                <a:cs typeface="Arial" pitchFamily="34" charset="0"/>
                <a:sym typeface="Wingdings 2" panose="05020102010507070707" pitchFamily="18" charset="2"/>
              </a:rPr>
              <a:t></a:t>
            </a:r>
            <a:r>
              <a:rPr lang="en-US" sz="800" dirty="0">
                <a:solidFill>
                  <a:srgbClr val="FF0000"/>
                </a:solidFill>
                <a:cs typeface="Arial" pitchFamily="34" charset="0"/>
                <a:sym typeface="Wingdings 2" panose="05020102010507070707" pitchFamily="18" charset="2"/>
              </a:rPr>
              <a:t> </a:t>
            </a:r>
            <a:r>
              <a:rPr lang="en-GB" sz="800" dirty="0"/>
              <a:t>Completed.</a:t>
            </a:r>
          </a:p>
        </p:txBody>
      </p:sp>
      <p:grpSp>
        <p:nvGrpSpPr>
          <p:cNvPr id="16" name="Group 15"/>
          <p:cNvGrpSpPr/>
          <p:nvPr>
            <p:custDataLst>
              <p:tags r:id="rId3"/>
            </p:custDataLst>
          </p:nvPr>
        </p:nvGrpSpPr>
        <p:grpSpPr>
          <a:xfrm>
            <a:off x="218754" y="474844"/>
            <a:ext cx="5383555" cy="2290972"/>
            <a:chOff x="179512" y="1057014"/>
            <a:chExt cx="4320480" cy="3016888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79512" y="1406360"/>
              <a:ext cx="4320480" cy="2667542"/>
            </a:xfrm>
            <a:prstGeom prst="rect">
              <a:avLst/>
            </a:prstGeom>
            <a:solidFill>
              <a:srgbClr val="F1F2E7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/>
                <a:t>Logistic Delivery Satellites – Unit Test (end-to-end) in progress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err="1" smtClean="0"/>
                <a:t>Dynasys</a:t>
              </a:r>
              <a:r>
                <a:rPr lang="en-GB" sz="1000" dirty="0" smtClean="0"/>
                <a:t> UT closed</a:t>
              </a:r>
              <a:endParaRPr lang="en-GB" sz="1000" dirty="0"/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/>
                <a:t>TMs </a:t>
              </a:r>
              <a:r>
                <a:rPr lang="en-GB" sz="1000" dirty="0" err="1"/>
                <a:t>Kewilll</a:t>
              </a:r>
              <a:r>
                <a:rPr lang="en-GB" sz="1000" dirty="0"/>
                <a:t> </a:t>
              </a:r>
              <a:r>
                <a:rPr lang="en-GB" sz="1000" dirty="0" smtClean="0"/>
                <a:t>UT closed</a:t>
              </a:r>
              <a:endParaRPr lang="en-GB" sz="1000" dirty="0"/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endParaRPr lang="en-GB" sz="1000" dirty="0" smtClean="0"/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179512" y="1057014"/>
              <a:ext cx="4320480" cy="360040"/>
            </a:xfrm>
            <a:prstGeom prst="rect">
              <a:avLst/>
            </a:prstGeom>
            <a:solidFill>
              <a:srgbClr val="5F7800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600"/>
                </a:spcAft>
              </a:pPr>
              <a:r>
                <a:rPr lang="en-US" sz="1000" b="1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tivities completed</a:t>
              </a:r>
            </a:p>
          </p:txBody>
        </p:sp>
      </p:grpSp>
      <p:graphicFrame>
        <p:nvGraphicFramePr>
          <p:cNvPr id="30" name="Table 29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64988269"/>
              </p:ext>
            </p:extLst>
          </p:nvPr>
        </p:nvGraphicFramePr>
        <p:xfrm>
          <a:off x="218754" y="5416086"/>
          <a:ext cx="11578292" cy="66780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344917"/>
                <a:gridCol w="1746987"/>
                <a:gridCol w="2411848"/>
                <a:gridCol w="2074540"/>
              </a:tblGrid>
              <a:tr h="278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Intervention or decision required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latin typeface="+mj-lt"/>
                          <a:cs typeface="Calibri" panose="020F0502020204030204" pitchFamily="34" charset="0"/>
                        </a:rPr>
                        <a:t>Raised by Interfac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 dirty="0" smtClean="0">
                          <a:latin typeface="+mj-lt"/>
                          <a:cs typeface="Calibri" panose="020F0502020204030204" pitchFamily="34" charset="0"/>
                        </a:rPr>
                        <a:t>Responsibl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dirty="0" smtClean="0">
                          <a:latin typeface="+mj-lt"/>
                          <a:cs typeface="Calibri" panose="020F0502020204030204" pitchFamily="34" charset="0"/>
                        </a:rPr>
                        <a:t>Due by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194647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194647">
                <a:tc>
                  <a:txBody>
                    <a:bodyPr/>
                    <a:lstStyle/>
                    <a:p>
                      <a:pPr marL="0" marR="0" indent="0" algn="l" defTabSz="685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noProof="0" dirty="0">
                        <a:solidFill>
                          <a:schemeClr val="tx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pSp>
        <p:nvGrpSpPr>
          <p:cNvPr id="23" name="Group 22"/>
          <p:cNvGrpSpPr/>
          <p:nvPr>
            <p:custDataLst>
              <p:tags r:id="rId5"/>
            </p:custDataLst>
          </p:nvPr>
        </p:nvGrpSpPr>
        <p:grpSpPr>
          <a:xfrm>
            <a:off x="6376908" y="445449"/>
            <a:ext cx="5385816" cy="2295144"/>
            <a:chOff x="179512" y="1196752"/>
            <a:chExt cx="4320480" cy="2852161"/>
          </a:xfrm>
        </p:grpSpPr>
        <p:sp>
          <p:nvSpPr>
            <p:cNvPr id="27" name="Rectangle 26"/>
            <p:cNvSpPr/>
            <p:nvPr/>
          </p:nvSpPr>
          <p:spPr bwMode="auto">
            <a:xfrm>
              <a:off x="179512" y="1556792"/>
              <a:ext cx="4320480" cy="2492121"/>
            </a:xfrm>
            <a:prstGeom prst="rect">
              <a:avLst/>
            </a:prstGeom>
            <a:solidFill>
              <a:srgbClr val="F1F2E7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onfirm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</a:t>
              </a:r>
              <a:r>
                <a:rPr lang="en-GB" sz="1000" dirty="0" err="1" smtClean="0">
                  <a:latin typeface="+mj-lt"/>
                </a:rPr>
                <a:t>WeMap</a:t>
              </a:r>
              <a:r>
                <a:rPr lang="en-GB" sz="1000" dirty="0" smtClean="0">
                  <a:latin typeface="+mj-lt"/>
                </a:rPr>
                <a:t> changes Feedback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lose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flat file ECC design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Close </a:t>
              </a:r>
              <a:r>
                <a:rPr lang="en-GB" sz="1000" dirty="0" err="1" smtClean="0">
                  <a:latin typeface="+mj-lt"/>
                </a:rPr>
                <a:t>Nutrade</a:t>
              </a:r>
              <a:r>
                <a:rPr lang="en-GB" sz="1000" dirty="0" smtClean="0">
                  <a:latin typeface="+mj-lt"/>
                </a:rPr>
                <a:t> GD design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Finalize GKO fixes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r>
                <a:rPr lang="en-GB" sz="1000" dirty="0" smtClean="0">
                  <a:latin typeface="+mj-lt"/>
                </a:rPr>
                <a:t>Evaluate decommissioning of AILOG</a:t>
              </a:r>
            </a:p>
            <a:p>
              <a:pPr marL="85725" indent="-85725">
                <a:lnSpc>
                  <a:spcPct val="150000"/>
                </a:lnSpc>
                <a:buFont typeface="Arial" pitchFamily="34" charset="0"/>
                <a:buChar char="•"/>
                <a:defRPr/>
              </a:pPr>
              <a:endParaRPr lang="en-GB" sz="1000" dirty="0" smtClean="0">
                <a:latin typeface="+mj-lt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179512" y="1196752"/>
              <a:ext cx="4320480" cy="360040"/>
            </a:xfrm>
            <a:prstGeom prst="rect">
              <a:avLst/>
            </a:prstGeom>
            <a:solidFill>
              <a:schemeClr val="accent6"/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tivities for coming week</a:t>
              </a:r>
            </a:p>
          </p:txBody>
        </p:sp>
      </p:grpSp>
      <p:sp>
        <p:nvSpPr>
          <p:cNvPr id="31" name="Oval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0949448" y="119760"/>
            <a:ext cx="275658" cy="275657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744354"/>
              </p:ext>
            </p:extLst>
          </p:nvPr>
        </p:nvGraphicFramePr>
        <p:xfrm>
          <a:off x="207331" y="2830566"/>
          <a:ext cx="11555392" cy="247371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084622"/>
                <a:gridCol w="2823590"/>
                <a:gridCol w="2823590"/>
                <a:gridCol w="2823590"/>
              </a:tblGrid>
              <a:tr h="213426">
                <a:tc gridSpan="4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Data</a:t>
                      </a:r>
                      <a:r>
                        <a:rPr lang="de-CH" sz="1000" b="1" kern="1200" baseline="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 Objects Needed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COMM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err="1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nS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P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Nu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75000"/>
                      </a:schemeClr>
                    </a:solidFill>
                  </a:tcPr>
                </a:tc>
              </a:tr>
              <a:tr h="305689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ustomer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Transport master data 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redit Limit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68581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</a:p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Material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Bank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ustomer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ricing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Carrier tracking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scally relevant transactional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Material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38554">
                <a:tc>
                  <a:txBody>
                    <a:bodyPr/>
                    <a:lstStyle/>
                    <a:p>
                      <a:pPr marL="0" marR="0" indent="0" algn="ctr" defTabSz="68581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Transaction data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reight invoice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FI/CO-posting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Calibri" panose="020F0502020204030204" pitchFamily="34" charset="0"/>
                        </a:rPr>
                        <a:t>Production orders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13426"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 defTabSz="685814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200" dirty="0">
                        <a:solidFill>
                          <a:schemeClr val="tx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2772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ntegração </a:t>
            </a:r>
            <a:r>
              <a:rPr lang="pt-BR" dirty="0" err="1" smtClean="0"/>
              <a:t>Nutrace</a:t>
            </a:r>
            <a:r>
              <a:rPr lang="pt-BR" dirty="0" smtClean="0"/>
              <a:t> (Feedback – </a:t>
            </a:r>
            <a:r>
              <a:rPr lang="pt-BR" dirty="0" err="1" smtClean="0"/>
              <a:t>FeedSystem</a:t>
            </a:r>
            <a:r>
              <a:rPr lang="pt-BR" dirty="0" smtClean="0"/>
              <a:t>)</a:t>
            </a:r>
            <a:endParaRPr lang="pt-BR" dirty="0"/>
          </a:p>
        </p:txBody>
      </p:sp>
      <p:grpSp>
        <p:nvGrpSpPr>
          <p:cNvPr id="7" name="Group 6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8" name="Rectangle 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1697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ecSYN Satellite Landscape</a:t>
            </a:r>
            <a:endParaRPr lang="pt-BR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6230024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722745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215466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581187" y="13240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461844" y="1779988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7954565" y="1779988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077975" y="161567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570696" y="161567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063417" y="1615673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309795" y="207165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520433" y="2728511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VPM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53" name="Elbow Connector 52"/>
          <p:cNvCxnSpPr>
            <a:stCxn id="41" idx="2"/>
            <a:endCxn id="128" idx="0"/>
          </p:cNvCxnSpPr>
          <p:nvPr/>
        </p:nvCxnSpPr>
        <p:spPr bwMode="auto">
          <a:xfrm rot="5400000">
            <a:off x="10432123" y="2474030"/>
            <a:ext cx="1139730" cy="63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232139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724860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217581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583302" y="133035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080090" y="162202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572811" y="1622023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065532" y="1622023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16200000" flipH="1">
            <a:off x="4600616" y="2320351"/>
            <a:ext cx="814821" cy="149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084287" y="1613166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395700" y="2939990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428393" y="196290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177762" y="242430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578748" y="281063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558825" y="5808806"/>
            <a:ext cx="6505812" cy="10482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PecSYN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PecSYN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730021" y="306114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BI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2" name="Elbow Connector 91"/>
          <p:cNvCxnSpPr>
            <a:stCxn id="91" idx="3"/>
            <a:endCxn id="54" idx="0"/>
          </p:cNvCxnSpPr>
          <p:nvPr/>
        </p:nvCxnSpPr>
        <p:spPr bwMode="auto">
          <a:xfrm>
            <a:off x="1577972" y="3352809"/>
            <a:ext cx="1523988" cy="45420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3" name="TextBox 92"/>
          <p:cNvSpPr txBox="1"/>
          <p:nvPr/>
        </p:nvSpPr>
        <p:spPr>
          <a:xfrm>
            <a:off x="5001624" y="194336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762041" y="-47640"/>
            <a:ext cx="256993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730021" y="226035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ing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oT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2613618" y="3807017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CMT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55" name="Elbow Connector 54"/>
          <p:cNvCxnSpPr>
            <a:stCxn id="49" idx="1"/>
            <a:endCxn id="54" idx="0"/>
          </p:cNvCxnSpPr>
          <p:nvPr/>
        </p:nvCxnSpPr>
        <p:spPr bwMode="auto">
          <a:xfrm rot="10800000" flipV="1">
            <a:off x="3101961" y="3020179"/>
            <a:ext cx="1418473" cy="78683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6" name="Elbow Connector 55"/>
          <p:cNvCxnSpPr>
            <a:stCxn id="62" idx="3"/>
            <a:endCxn id="54" idx="0"/>
          </p:cNvCxnSpPr>
          <p:nvPr/>
        </p:nvCxnSpPr>
        <p:spPr bwMode="auto">
          <a:xfrm flipH="1">
            <a:off x="3101960" y="1622023"/>
            <a:ext cx="2329293" cy="2184994"/>
          </a:xfrm>
          <a:prstGeom prst="bentConnector4">
            <a:avLst>
              <a:gd name="adj1" fmla="val -9814"/>
              <a:gd name="adj2" fmla="val 85556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66" name="Elbow Connector 65"/>
          <p:cNvCxnSpPr>
            <a:stCxn id="50" idx="3"/>
            <a:endCxn id="54" idx="0"/>
          </p:cNvCxnSpPr>
          <p:nvPr/>
        </p:nvCxnSpPr>
        <p:spPr bwMode="auto">
          <a:xfrm>
            <a:off x="1577972" y="2552026"/>
            <a:ext cx="1523988" cy="1254991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6" name="Rectangle 75"/>
          <p:cNvSpPr/>
          <p:nvPr/>
        </p:nvSpPr>
        <p:spPr bwMode="auto">
          <a:xfrm>
            <a:off x="1089630" y="5180947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SIP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77" name="Elbow Connector 76"/>
          <p:cNvCxnSpPr>
            <a:stCxn id="91" idx="1"/>
            <a:endCxn id="76" idx="0"/>
          </p:cNvCxnSpPr>
          <p:nvPr/>
        </p:nvCxnSpPr>
        <p:spPr bwMode="auto">
          <a:xfrm rot="10800000" flipH="1" flipV="1">
            <a:off x="730020" y="3352809"/>
            <a:ext cx="847951" cy="1828138"/>
          </a:xfrm>
          <a:prstGeom prst="bentConnector4">
            <a:avLst>
              <a:gd name="adj1" fmla="val -26959"/>
              <a:gd name="adj2" fmla="val 79111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83" name="Elbow Connector 82"/>
          <p:cNvCxnSpPr>
            <a:stCxn id="54" idx="2"/>
            <a:endCxn id="76" idx="0"/>
          </p:cNvCxnSpPr>
          <p:nvPr/>
        </p:nvCxnSpPr>
        <p:spPr bwMode="auto">
          <a:xfrm rot="5400000">
            <a:off x="1944669" y="4023655"/>
            <a:ext cx="790595" cy="15239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95" name="Flowchart: Document 94"/>
          <p:cNvSpPr/>
          <p:nvPr/>
        </p:nvSpPr>
        <p:spPr bwMode="auto">
          <a:xfrm>
            <a:off x="1632700" y="231494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6" name="Flowchart: Document 95"/>
          <p:cNvSpPr/>
          <p:nvPr/>
        </p:nvSpPr>
        <p:spPr bwMode="auto">
          <a:xfrm>
            <a:off x="2302965" y="385812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0" name="Flowchart: Document 99"/>
          <p:cNvSpPr/>
          <p:nvPr/>
        </p:nvSpPr>
        <p:spPr bwMode="auto">
          <a:xfrm>
            <a:off x="400739" y="310298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01" name="Elbow Connector 100"/>
          <p:cNvCxnSpPr>
            <a:stCxn id="54" idx="1"/>
            <a:endCxn id="91" idx="2"/>
          </p:cNvCxnSpPr>
          <p:nvPr/>
        </p:nvCxnSpPr>
        <p:spPr bwMode="auto">
          <a:xfrm rot="10800000">
            <a:off x="1153998" y="3644477"/>
            <a:ext cx="1459621" cy="454209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Rectangle 101"/>
          <p:cNvSpPr/>
          <p:nvPr/>
        </p:nvSpPr>
        <p:spPr bwMode="auto">
          <a:xfrm>
            <a:off x="4718614" y="380411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trapratica</a:t>
            </a:r>
            <a:endParaRPr lang="en-US" sz="3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4718613" y="462183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BF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54" idx="3"/>
            <a:endCxn id="102" idx="1"/>
          </p:cNvCxnSpPr>
          <p:nvPr/>
        </p:nvCxnSpPr>
        <p:spPr bwMode="auto">
          <a:xfrm flipV="1">
            <a:off x="3590301" y="4095779"/>
            <a:ext cx="1128313" cy="290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3" name="Elbow Connector 122"/>
          <p:cNvCxnSpPr>
            <a:stCxn id="54" idx="3"/>
            <a:endCxn id="110" idx="1"/>
          </p:cNvCxnSpPr>
          <p:nvPr/>
        </p:nvCxnSpPr>
        <p:spPr bwMode="auto">
          <a:xfrm>
            <a:off x="3590301" y="4098685"/>
            <a:ext cx="1128312" cy="81482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26" name="Flowchart: Document 125"/>
          <p:cNvSpPr/>
          <p:nvPr/>
        </p:nvSpPr>
        <p:spPr bwMode="auto">
          <a:xfrm>
            <a:off x="3632461" y="385072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7" name="Flowchart: Document 126"/>
          <p:cNvSpPr/>
          <p:nvPr/>
        </p:nvSpPr>
        <p:spPr bwMode="auto">
          <a:xfrm>
            <a:off x="3678317" y="389603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1600000" y="310874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Flowchart: Document 70"/>
          <p:cNvSpPr/>
          <p:nvPr/>
        </p:nvSpPr>
        <p:spPr bwMode="auto">
          <a:xfrm>
            <a:off x="4221247" y="281255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4" name="Flowchart: Document 73"/>
          <p:cNvSpPr/>
          <p:nvPr/>
        </p:nvSpPr>
        <p:spPr bwMode="auto">
          <a:xfrm>
            <a:off x="5493313" y="138152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Flowchart: Document 77"/>
          <p:cNvSpPr/>
          <p:nvPr/>
        </p:nvSpPr>
        <p:spPr bwMode="auto">
          <a:xfrm>
            <a:off x="3147187" y="447635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6720059" y="337970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BI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4" name="Elbow Connector 93"/>
          <p:cNvCxnSpPr>
            <a:stCxn id="86" idx="3"/>
            <a:endCxn id="104" idx="0"/>
          </p:cNvCxnSpPr>
          <p:nvPr/>
        </p:nvCxnSpPr>
        <p:spPr bwMode="auto">
          <a:xfrm>
            <a:off x="7568010" y="3671368"/>
            <a:ext cx="1523988" cy="724667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3" name="Rectangle 102"/>
          <p:cNvSpPr/>
          <p:nvPr/>
        </p:nvSpPr>
        <p:spPr bwMode="auto">
          <a:xfrm>
            <a:off x="6720059" y="2578917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ing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oT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8603656" y="4396035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CMT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105" name="Elbow Connector 104"/>
          <p:cNvCxnSpPr>
            <a:stCxn id="128" idx="1"/>
            <a:endCxn id="104" idx="0"/>
          </p:cNvCxnSpPr>
          <p:nvPr/>
        </p:nvCxnSpPr>
        <p:spPr bwMode="auto">
          <a:xfrm rot="10800000" flipV="1">
            <a:off x="9091999" y="3338737"/>
            <a:ext cx="1418473" cy="1057297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06" name="Elbow Connector 105"/>
          <p:cNvCxnSpPr>
            <a:stCxn id="103" idx="3"/>
            <a:endCxn id="104" idx="0"/>
          </p:cNvCxnSpPr>
          <p:nvPr/>
        </p:nvCxnSpPr>
        <p:spPr bwMode="auto">
          <a:xfrm>
            <a:off x="7568010" y="2870585"/>
            <a:ext cx="1523988" cy="1525450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07" name="Rectangle 106"/>
          <p:cNvSpPr/>
          <p:nvPr/>
        </p:nvSpPr>
        <p:spPr bwMode="auto">
          <a:xfrm>
            <a:off x="10309347" y="5373400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SIP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08" name="Elbow Connector 107"/>
          <p:cNvCxnSpPr>
            <a:stCxn id="86" idx="1"/>
            <a:endCxn id="107" idx="1"/>
          </p:cNvCxnSpPr>
          <p:nvPr/>
        </p:nvCxnSpPr>
        <p:spPr bwMode="auto">
          <a:xfrm rot="10800000" flipH="1" flipV="1">
            <a:off x="6720059" y="3671368"/>
            <a:ext cx="3589288" cy="1993700"/>
          </a:xfrm>
          <a:prstGeom prst="bentConnector3">
            <a:avLst>
              <a:gd name="adj1" fmla="val -6369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09" name="Elbow Connector 108"/>
          <p:cNvCxnSpPr>
            <a:stCxn id="104" idx="2"/>
            <a:endCxn id="107" idx="1"/>
          </p:cNvCxnSpPr>
          <p:nvPr/>
        </p:nvCxnSpPr>
        <p:spPr bwMode="auto">
          <a:xfrm rot="16200000" flipH="1">
            <a:off x="9357823" y="4713544"/>
            <a:ext cx="685698" cy="1217349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12" name="Flowchart: Document 111"/>
          <p:cNvSpPr/>
          <p:nvPr/>
        </p:nvSpPr>
        <p:spPr bwMode="auto">
          <a:xfrm>
            <a:off x="7622738" y="26335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3" name="Flowchart: Document 112"/>
          <p:cNvSpPr/>
          <p:nvPr/>
        </p:nvSpPr>
        <p:spPr bwMode="auto">
          <a:xfrm>
            <a:off x="8293003" y="444714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4" name="Flowchart: Document 113"/>
          <p:cNvSpPr/>
          <p:nvPr/>
        </p:nvSpPr>
        <p:spPr bwMode="auto">
          <a:xfrm>
            <a:off x="6390777" y="342154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5" name="Elbow Connector 114"/>
          <p:cNvCxnSpPr>
            <a:stCxn id="104" idx="1"/>
            <a:endCxn id="86" idx="2"/>
          </p:cNvCxnSpPr>
          <p:nvPr/>
        </p:nvCxnSpPr>
        <p:spPr bwMode="auto">
          <a:xfrm rot="10800000">
            <a:off x="7144036" y="3963035"/>
            <a:ext cx="1459621" cy="724668"/>
          </a:xfrm>
          <a:prstGeom prst="bentConnector2">
            <a:avLst/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22" name="Flowchart: Document 121"/>
          <p:cNvSpPr/>
          <p:nvPr/>
        </p:nvSpPr>
        <p:spPr bwMode="auto">
          <a:xfrm>
            <a:off x="7590038" y="342730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4" name="Flowchart: Document 123"/>
          <p:cNvSpPr/>
          <p:nvPr/>
        </p:nvSpPr>
        <p:spPr bwMode="auto">
          <a:xfrm>
            <a:off x="10211285" y="3131117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5" name="Flowchart: Document 124"/>
          <p:cNvSpPr/>
          <p:nvPr/>
        </p:nvSpPr>
        <p:spPr bwMode="auto">
          <a:xfrm>
            <a:off x="9137225" y="5065370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8" name="Rectangle 127"/>
          <p:cNvSpPr/>
          <p:nvPr/>
        </p:nvSpPr>
        <p:spPr bwMode="auto">
          <a:xfrm>
            <a:off x="10510471" y="3047070"/>
            <a:ext cx="976683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PecSYN</a:t>
            </a:r>
            <a:endParaRPr lang="en-US" sz="11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VPM PROD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9607061" y="4294391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11502048" y="5193819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131" name="Elbow Connector 130"/>
          <p:cNvCxnSpPr>
            <a:stCxn id="41" idx="3"/>
            <a:endCxn id="104" idx="0"/>
          </p:cNvCxnSpPr>
          <p:nvPr/>
        </p:nvCxnSpPr>
        <p:spPr bwMode="auto">
          <a:xfrm flipH="1">
            <a:off x="9091998" y="1615673"/>
            <a:ext cx="2337140" cy="2780362"/>
          </a:xfrm>
          <a:prstGeom prst="bentConnector4">
            <a:avLst>
              <a:gd name="adj1" fmla="val -17496"/>
              <a:gd name="adj2" fmla="val 86743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32" name="Flowchart: Document 131"/>
          <p:cNvSpPr/>
          <p:nvPr/>
        </p:nvSpPr>
        <p:spPr bwMode="auto">
          <a:xfrm>
            <a:off x="11490957" y="139824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082698" y="3040478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198184" y="419776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80174" y="545812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</p:spTree>
    <p:extLst>
      <p:ext uri="{BB962C8B-B14F-4D97-AF65-F5344CB8AC3E}">
        <p14:creationId xmlns:p14="http://schemas.microsoft.com/office/powerpoint/2010/main" val="22741273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8" name="Rectangle 37"/>
          <p:cNvSpPr/>
          <p:nvPr/>
        </p:nvSpPr>
        <p:spPr bwMode="auto">
          <a:xfrm>
            <a:off x="6357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849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342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10708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588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8081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44" name="Straight Arrow Connector 43"/>
          <p:cNvCxnSpPr>
            <a:stCxn id="38" idx="3"/>
            <a:endCxn id="39" idx="1"/>
          </p:cNvCxnSpPr>
          <p:nvPr/>
        </p:nvCxnSpPr>
        <p:spPr bwMode="auto">
          <a:xfrm>
            <a:off x="7204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6" name="Straight Arrow Connector 45"/>
          <p:cNvCxnSpPr>
            <a:stCxn id="39" idx="3"/>
            <a:endCxn id="40" idx="1"/>
          </p:cNvCxnSpPr>
          <p:nvPr/>
        </p:nvCxnSpPr>
        <p:spPr bwMode="auto">
          <a:xfrm>
            <a:off x="8697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7" name="Straight Arrow Connector 46"/>
          <p:cNvCxnSpPr>
            <a:stCxn id="40" idx="3"/>
            <a:endCxn id="41" idx="1"/>
          </p:cNvCxnSpPr>
          <p:nvPr/>
        </p:nvCxnSpPr>
        <p:spPr bwMode="auto">
          <a:xfrm>
            <a:off x="10190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48" name="Straight Arrow Connector 47"/>
          <p:cNvCxnSpPr>
            <a:stCxn id="42" idx="3"/>
            <a:endCxn id="43" idx="1"/>
          </p:cNvCxnSpPr>
          <p:nvPr/>
        </p:nvCxnSpPr>
        <p:spPr bwMode="auto">
          <a:xfrm>
            <a:off x="7436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9" name="Rectangle 48"/>
          <p:cNvSpPr/>
          <p:nvPr/>
        </p:nvSpPr>
        <p:spPr bwMode="auto">
          <a:xfrm>
            <a:off x="4710302" y="3307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400" dirty="0">
                <a:solidFill>
                  <a:schemeClr val="tx1"/>
                </a:solidFill>
                <a:latin typeface="Arial" charset="0"/>
              </a:rPr>
              <a:t> 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8977105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Suppor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10708187" y="3340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Plusof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Elbow Connector 52"/>
          <p:cNvCxnSpPr>
            <a:stCxn id="41" idx="2"/>
            <a:endCxn id="52" idx="0"/>
          </p:cNvCxnSpPr>
          <p:nvPr/>
        </p:nvCxnSpPr>
        <p:spPr bwMode="auto">
          <a:xfrm rot="5400000">
            <a:off x="10557278" y="2765563"/>
            <a:ext cx="114977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5400000">
            <a:off x="4579287" y="2752019"/>
            <a:ext cx="1109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10211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522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cxnSp>
        <p:nvCxnSpPr>
          <p:cNvPr id="72" name="Elbow Connector 71"/>
          <p:cNvCxnSpPr>
            <a:stCxn id="42" idx="2"/>
            <a:endCxn id="51" idx="0"/>
          </p:cNvCxnSpPr>
          <p:nvPr/>
        </p:nvCxnSpPr>
        <p:spPr bwMode="auto">
          <a:xfrm rot="16200000" flipH="1">
            <a:off x="7860057" y="1799423"/>
            <a:ext cx="693787" cy="23882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43" idx="2"/>
            <a:endCxn id="51" idx="0"/>
          </p:cNvCxnSpPr>
          <p:nvPr/>
        </p:nvCxnSpPr>
        <p:spPr bwMode="auto">
          <a:xfrm rot="16200000" flipH="1">
            <a:off x="8606418" y="2545784"/>
            <a:ext cx="693787" cy="89554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40" idx="2"/>
            <a:endCxn id="51" idx="0"/>
          </p:cNvCxnSpPr>
          <p:nvPr/>
        </p:nvCxnSpPr>
        <p:spPr bwMode="auto">
          <a:xfrm rot="5400000">
            <a:off x="9008877" y="2582883"/>
            <a:ext cx="1149770" cy="365361"/>
          </a:xfrm>
          <a:prstGeom prst="bentConnector3">
            <a:avLst>
              <a:gd name="adj1" fmla="val 7128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9" name="TextBox 78"/>
          <p:cNvSpPr txBox="1"/>
          <p:nvPr/>
        </p:nvSpPr>
        <p:spPr>
          <a:xfrm>
            <a:off x="6356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21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9206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555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9037610" y="312255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10705748" y="309396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</a:t>
            </a:r>
            <a:r>
              <a:rPr lang="pt-BR" sz="1200" dirty="0" err="1" smtClean="0"/>
              <a:t>Plusof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</a:t>
            </a:r>
            <a:r>
              <a:rPr lang="pt-BR" sz="1200" dirty="0" err="1" smtClean="0"/>
              <a:t>Plusoft</a:t>
            </a: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2546014" y="3333437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Plusoft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054709" y="2418155"/>
            <a:ext cx="1136409" cy="69415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endCxn id="50" idx="0"/>
          </p:cNvCxnSpPr>
          <p:nvPr/>
        </p:nvCxnSpPr>
        <p:spPr bwMode="auto">
          <a:xfrm rot="5400000">
            <a:off x="2864767" y="2295901"/>
            <a:ext cx="1142759" cy="9323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Plussoft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537524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9" name="Rectangle 48"/>
          <p:cNvSpPr/>
          <p:nvPr/>
        </p:nvSpPr>
        <p:spPr bwMode="auto">
          <a:xfrm>
            <a:off x="4726013" y="341002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r>
              <a:rPr lang="en-US" sz="1400" dirty="0" smtClean="0">
                <a:solidFill>
                  <a:schemeClr val="tx1"/>
                </a:solidFill>
                <a:latin typeface="Arial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9108726" y="363302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/UAT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9074727" y="2196853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charset="0"/>
              </a:rPr>
              <a:t>SPo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7231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3" name="Straight Arrow Connector 62"/>
          <p:cNvCxnSpPr>
            <a:stCxn id="58" idx="3"/>
            <a:endCxn id="60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4" name="Straight Arrow Connector 63"/>
          <p:cNvCxnSpPr>
            <a:stCxn id="60" idx="3"/>
            <a:endCxn id="61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5" name="Straight Arrow Connector 64"/>
          <p:cNvCxnSpPr>
            <a:stCxn id="61" idx="3"/>
            <a:endCxn id="62" idx="1"/>
          </p:cNvCxnSpPr>
          <p:nvPr/>
        </p:nvCxnSpPr>
        <p:spPr bwMode="auto">
          <a:xfrm>
            <a:off x="4192532" y="1905361"/>
            <a:ext cx="530649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Elbow Connector 66"/>
          <p:cNvCxnSpPr>
            <a:stCxn id="62" idx="2"/>
            <a:endCxn id="49" idx="0"/>
          </p:cNvCxnSpPr>
          <p:nvPr/>
        </p:nvCxnSpPr>
        <p:spPr bwMode="auto">
          <a:xfrm rot="16200000" flipH="1">
            <a:off x="4542075" y="2802110"/>
            <a:ext cx="1212997" cy="283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9922678" y="2117043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</p:txBody>
      </p:sp>
      <p:sp>
        <p:nvSpPr>
          <p:cNvPr id="87" name="Flowchart: Document 86"/>
          <p:cNvSpPr/>
          <p:nvPr/>
        </p:nvSpPr>
        <p:spPr bwMode="auto">
          <a:xfrm>
            <a:off x="5291355" y="304220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Flowchart: Document 87"/>
          <p:cNvSpPr/>
          <p:nvPr/>
        </p:nvSpPr>
        <p:spPr bwMode="auto">
          <a:xfrm>
            <a:off x="8680053" y="369450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Flowchart: Document 88"/>
          <p:cNvSpPr/>
          <p:nvPr/>
        </p:nvSpPr>
        <p:spPr bwMode="auto">
          <a:xfrm>
            <a:off x="8680054" y="2186989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err="1" smtClean="0"/>
              <a:t>Cutover</a:t>
            </a:r>
            <a:r>
              <a:rPr lang="pt-BR" sz="1200" dirty="0" smtClean="0"/>
              <a:t> </a:t>
            </a:r>
            <a:r>
              <a:rPr lang="pt-BR" sz="1200" dirty="0" err="1" smtClean="0"/>
              <a:t>steps</a:t>
            </a:r>
            <a:r>
              <a:rPr lang="pt-BR" sz="1200" dirty="0" smtClean="0"/>
              <a:t>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 err="1" smtClean="0"/>
              <a:t>Cut</a:t>
            </a:r>
            <a:r>
              <a:rPr lang="pt-BR" sz="1200" dirty="0" smtClean="0"/>
              <a:t>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Implement</a:t>
            </a:r>
            <a:r>
              <a:rPr lang="pt-BR" sz="1200" dirty="0" smtClean="0"/>
              <a:t> Changes in </a:t>
            </a:r>
            <a:r>
              <a:rPr lang="pt-BR" sz="1200" dirty="0" err="1" smtClean="0"/>
              <a:t>SPo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Run</a:t>
            </a:r>
            <a:r>
              <a:rPr lang="pt-BR" sz="1200" dirty="0" smtClean="0"/>
              <a:t> Smoke tes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128624" y="222669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22415" y="2969475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3097369" y="332847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SPoT</a:t>
            </a:r>
            <a:endParaRPr lang="en-US" sz="12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Support</a:t>
            </a:r>
          </a:p>
        </p:txBody>
      </p:sp>
      <p:cxnSp>
        <p:nvCxnSpPr>
          <p:cNvPr id="54" name="Elbow Connector 53"/>
          <p:cNvCxnSpPr>
            <a:stCxn id="60" idx="2"/>
            <a:endCxn id="50" idx="0"/>
          </p:cNvCxnSpPr>
          <p:nvPr/>
        </p:nvCxnSpPr>
        <p:spPr bwMode="auto">
          <a:xfrm rot="16200000" flipH="1">
            <a:off x="2332865" y="2139998"/>
            <a:ext cx="1131450" cy="124550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61" idx="2"/>
            <a:endCxn id="50" idx="0"/>
          </p:cNvCxnSpPr>
          <p:nvPr/>
        </p:nvCxnSpPr>
        <p:spPr bwMode="auto">
          <a:xfrm rot="5400000">
            <a:off x="3079226" y="2639147"/>
            <a:ext cx="1131450" cy="2472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70" name="Flowchart: Document 69"/>
          <p:cNvSpPr/>
          <p:nvPr/>
        </p:nvSpPr>
        <p:spPr bwMode="auto">
          <a:xfrm>
            <a:off x="3148343" y="3081298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733233" y="25060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SPoT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6845775" y="219685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endavo</a:t>
            </a:r>
            <a:endParaRPr lang="en-US" sz="7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7" name="Elbow Connector 76"/>
          <p:cNvCxnSpPr>
            <a:stCxn id="76" idx="3"/>
            <a:endCxn id="52" idx="1"/>
          </p:cNvCxnSpPr>
          <p:nvPr/>
        </p:nvCxnSpPr>
        <p:spPr bwMode="auto">
          <a:xfrm>
            <a:off x="7693726" y="2488520"/>
            <a:ext cx="1381001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78" name="Rectangle 77"/>
          <p:cNvSpPr/>
          <p:nvPr/>
        </p:nvSpPr>
        <p:spPr bwMode="auto">
          <a:xfrm>
            <a:off x="6820885" y="3642381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endavo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ST/UAT</a:t>
            </a:r>
            <a:endParaRPr lang="en-US" sz="7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83" name="Elbow Connector 82"/>
          <p:cNvCxnSpPr>
            <a:stCxn id="78" idx="3"/>
            <a:endCxn id="51" idx="1"/>
          </p:cNvCxnSpPr>
          <p:nvPr/>
        </p:nvCxnSpPr>
        <p:spPr bwMode="auto">
          <a:xfrm flipV="1">
            <a:off x="7668836" y="3924692"/>
            <a:ext cx="1439890" cy="935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598533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9" name="Rectangle 48"/>
          <p:cNvSpPr/>
          <p:nvPr/>
        </p:nvSpPr>
        <p:spPr bwMode="auto">
          <a:xfrm>
            <a:off x="1030310" y="1698332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Go-liv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6915589" y="3367367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382752" y="3367367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168203" y="5473522"/>
            <a:ext cx="6165287" cy="1127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err="1" smtClean="0"/>
              <a:t>Cutover</a:t>
            </a:r>
            <a:r>
              <a:rPr lang="pt-BR" sz="1200" dirty="0" smtClean="0"/>
              <a:t> </a:t>
            </a:r>
            <a:r>
              <a:rPr lang="pt-BR" sz="1200" dirty="0" err="1" smtClean="0"/>
              <a:t>steps</a:t>
            </a:r>
            <a:r>
              <a:rPr lang="pt-BR" sz="1200" dirty="0" smtClean="0"/>
              <a:t>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 err="1" smtClean="0"/>
              <a:t>Cut</a:t>
            </a:r>
            <a:r>
              <a:rPr lang="pt-BR" sz="1200" dirty="0" smtClean="0"/>
              <a:t>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Implement</a:t>
            </a:r>
            <a:r>
              <a:rPr lang="pt-BR" sz="1200" dirty="0" smtClean="0"/>
              <a:t> Changes in </a:t>
            </a:r>
            <a:r>
              <a:rPr lang="pt-BR" sz="1200" dirty="0" err="1" smtClean="0"/>
              <a:t>SPoT</a:t>
            </a: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err="1" smtClean="0"/>
              <a:t>Run</a:t>
            </a:r>
            <a:r>
              <a:rPr lang="pt-BR" sz="1200" dirty="0" smtClean="0"/>
              <a:t> Smoke test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497417" y="88900"/>
            <a:ext cx="11271251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2pPr>
            <a:lvl3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3pPr>
            <a:lvl4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4pPr>
            <a:lvl5pPr algn="l" defTabSz="717962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5pPr>
            <a:lvl6pPr marL="342907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6pPr>
            <a:lvl7pPr marL="685814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7pPr>
            <a:lvl8pPr marL="1028720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8pPr>
            <a:lvl9pPr marL="1371628" algn="l" defTabSz="717962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6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kern="0" dirty="0" err="1" smtClean="0"/>
              <a:t>Teamspace</a:t>
            </a:r>
            <a:r>
              <a:rPr lang="pt-BR" kern="0" dirty="0" smtClean="0"/>
              <a:t> </a:t>
            </a:r>
            <a:r>
              <a:rPr lang="pt-BR" kern="0" dirty="0" err="1" smtClean="0"/>
              <a:t>Satellite</a:t>
            </a:r>
            <a:r>
              <a:rPr lang="pt-BR" kern="0" dirty="0" smtClean="0"/>
              <a:t> </a:t>
            </a:r>
            <a:r>
              <a:rPr lang="pt-BR" kern="0" dirty="0" err="1" smtClean="0"/>
              <a:t>Landscape</a:t>
            </a:r>
            <a:endParaRPr lang="pt-BR" kern="0" dirty="0"/>
          </a:p>
        </p:txBody>
      </p:sp>
      <p:sp>
        <p:nvSpPr>
          <p:cNvPr id="74" name="Rectangle 73"/>
          <p:cNvSpPr/>
          <p:nvPr/>
        </p:nvSpPr>
        <p:spPr>
          <a:xfrm>
            <a:off x="2915384" y="-47640"/>
            <a:ext cx="62632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Review (in design)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915590" y="1841185"/>
            <a:ext cx="13754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400" dirty="0" err="1" smtClean="0">
                <a:solidFill>
                  <a:schemeClr val="tx1"/>
                </a:solidFill>
                <a:latin typeface="Arial" charset="0"/>
              </a:rPr>
              <a:t>Teamspace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chemeClr val="tx1"/>
                </a:solidFill>
                <a:latin typeface="Arial" charset="0"/>
              </a:rPr>
              <a:t>IST/UAT</a:t>
            </a: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405395" y="169833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</p:spTree>
    <p:extLst>
      <p:ext uri="{BB962C8B-B14F-4D97-AF65-F5344CB8AC3E}">
        <p14:creationId xmlns:p14="http://schemas.microsoft.com/office/powerpoint/2010/main" val="18375675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594416"/>
              </p:ext>
            </p:extLst>
          </p:nvPr>
        </p:nvGraphicFramePr>
        <p:xfrm>
          <a:off x="169863" y="257577"/>
          <a:ext cx="11780837" cy="57053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Worksheet" r:id="rId3" imgW="44519728" imgH="4010133" progId="Excel.Sheet.12">
                  <p:link updateAutomatic="1"/>
                </p:oleObj>
              </mc:Choice>
              <mc:Fallback>
                <p:oleObj name="Worksheet" r:id="rId3" imgW="44519728" imgH="40101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9863" y="257577"/>
                        <a:ext cx="11780837" cy="57053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70202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3057359"/>
              </p:ext>
            </p:extLst>
          </p:nvPr>
        </p:nvGraphicFramePr>
        <p:xfrm>
          <a:off x="734095" y="850006"/>
          <a:ext cx="10698051" cy="3412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Worksheet" r:id="rId3" imgW="12220493" imgH="971491" progId="Excel.Sheet.12">
                  <p:embed/>
                </p:oleObj>
              </mc:Choice>
              <mc:Fallback>
                <p:oleObj name="Worksheet" r:id="rId3" imgW="12220493" imgH="9714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34095" y="850006"/>
                        <a:ext cx="10698051" cy="3412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814354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565127"/>
              </p:ext>
            </p:extLst>
          </p:nvPr>
        </p:nvGraphicFramePr>
        <p:xfrm>
          <a:off x="193182" y="161782"/>
          <a:ext cx="11797048" cy="592796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03043"/>
                <a:gridCol w="1481071"/>
                <a:gridCol w="862884"/>
                <a:gridCol w="2422504"/>
                <a:gridCol w="542902"/>
                <a:gridCol w="591417"/>
                <a:gridCol w="608195"/>
                <a:gridCol w="1578960"/>
                <a:gridCol w="1906072"/>
              </a:tblGrid>
              <a:tr h="43416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atellites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Data needed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treams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Solution Readines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Environment Readiness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Data Requirements identified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 charset="0"/>
                          <a:cs typeface="Calibri" panose="020F0502020204030204" pitchFamily="34" charset="0"/>
                        </a:rPr>
                        <a:t>Cutover Strategy (RAG)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262068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IST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F7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UAT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F7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CH" sz="105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+mn-cs"/>
                        </a:rPr>
                        <a:t>PROD</a:t>
                      </a:r>
                      <a:endParaRPr lang="en-US" sz="105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F78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  <a:tc v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68580" marR="6858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rovie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stand alone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cSy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Y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still in design phase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MD/TD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ussoft Saa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CA approval pending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tand alone - design on going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MD/TD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amspace (SIPExc mngt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stand alone - design on going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k Payment Processin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dito Rur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flat file ready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9432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sy IRPJ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flat file ready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7385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interfaces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y)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terSAF D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interfaces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full upload/refresh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rol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hadar Cartão de Visita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as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5938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se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PS (Pricing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P-Tool / B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D 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in design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 design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L Substitu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stand alone**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build plan 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itoramento Logistic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decomission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bMa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flat file build in progress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delta update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21237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ilo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on hol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rier Web Servic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in unit test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sy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ile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ad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manual maint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KO Fre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in unit test)</a:t>
                      </a:r>
                    </a:p>
                  </a:txBody>
                  <a:tcPr marL="0" marR="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delta uploa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e Source Global Trad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build in progress)</a:t>
                      </a:r>
                    </a:p>
                  </a:txBody>
                  <a:tcPr marL="0" marR="0" marT="0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0" marR="0" marT="0" marB="0" anchor="b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 (Unknown)</a:t>
                      </a:r>
                    </a:p>
                  </a:txBody>
                  <a:tcPr marL="0" marR="0" marT="0" marB="0" anchor="b">
                    <a:solidFill>
                      <a:srgbClr val="FF6600"/>
                    </a:solidFill>
                  </a:tcPr>
                </a:tc>
              </a:tr>
              <a:tr h="18606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inel e-Kanb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(decomission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  <a:tr h="151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MS Kewil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 (MD/TD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(interface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y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/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MD manual maint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</a:tr>
              <a:tr h="151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ledo sca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lat file to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ynasy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ady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 (TD)</a:t>
                      </a:r>
                    </a:p>
                  </a:txBody>
                  <a:tcPr marL="0" marR="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287888" y="6284889"/>
            <a:ext cx="5731098" cy="386367"/>
          </a:xfrm>
          <a:prstGeom prst="rect">
            <a:avLst/>
          </a:prstGeom>
          <a:noFill/>
        </p:spPr>
        <p:txBody>
          <a:bodyPr wrap="none" rtlCol="0">
            <a:normAutofit fontScale="700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* No data is sent, just retrieved from Satellit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** Stand alone systems have data being inputed manually</a:t>
            </a:r>
          </a:p>
        </p:txBody>
      </p:sp>
    </p:spTree>
    <p:extLst>
      <p:ext uri="{BB962C8B-B14F-4D97-AF65-F5344CB8AC3E}">
        <p14:creationId xmlns:p14="http://schemas.microsoft.com/office/powerpoint/2010/main" val="68827079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 smtClean="0"/>
              <a:t>PnS Satellite Systems Landscapes</a:t>
            </a:r>
            <a:endParaRPr lang="pt-BR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1474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YNASYS / Toledo Scale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360986" y="330701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 PROD</a:t>
            </a:r>
            <a:br>
              <a:rPr lang="en-US" sz="1100" dirty="0" smtClean="0">
                <a:solidFill>
                  <a:schemeClr val="tx1"/>
                </a:solidFill>
                <a:latin typeface="Arial" charset="0"/>
              </a:rPr>
            </a:b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(2003 server)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779336" y="351574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IST / UAT</a:t>
            </a:r>
            <a:br>
              <a:rPr lang="en-US" sz="1200" dirty="0" smtClean="0">
                <a:solidFill>
                  <a:schemeClr val="tx1"/>
                </a:solidFill>
                <a:latin typeface="Arial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Arial" charset="0"/>
              </a:rPr>
              <a:t>(2008 server)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10510418" y="3515740"/>
            <a:ext cx="1197268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err="1" smtClean="0">
                <a:solidFill>
                  <a:schemeClr val="tx1"/>
                </a:solidFill>
                <a:latin typeface="Arial" charset="0"/>
              </a:rPr>
              <a:t>Dynasys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 PROD (2008 server)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74" name="Elbow Connector 73"/>
          <p:cNvCxnSpPr>
            <a:stCxn id="7" idx="2"/>
            <a:endCxn id="58" idx="0"/>
          </p:cNvCxnSpPr>
          <p:nvPr/>
        </p:nvCxnSpPr>
        <p:spPr bwMode="auto">
          <a:xfrm rot="5400000">
            <a:off x="10521577" y="2778154"/>
            <a:ext cx="1325062" cy="15011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2623070" y="160150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2626007" y="2703205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 flipV="1">
            <a:off x="1207090" y="1893174"/>
            <a:ext cx="1415980" cy="1218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7" idx="3"/>
            <a:endCxn id="89" idx="1"/>
          </p:cNvCxnSpPr>
          <p:nvPr/>
        </p:nvCxnSpPr>
        <p:spPr bwMode="auto">
          <a:xfrm>
            <a:off x="1207090" y="1905361"/>
            <a:ext cx="1418917" cy="10895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8" idx="3"/>
            <a:endCxn id="90" idx="1"/>
          </p:cNvCxnSpPr>
          <p:nvPr/>
        </p:nvCxnSpPr>
        <p:spPr bwMode="auto">
          <a:xfrm>
            <a:off x="3471021" y="1893174"/>
            <a:ext cx="1239281" cy="1218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491958" y="2664690"/>
            <a:ext cx="1109982" cy="17465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471021" y="5317524"/>
            <a:ext cx="5585495" cy="13291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Dynasys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>
              <a:solidFill>
                <a:srgbClr val="FF0000"/>
              </a:solidFill>
            </a:endParaRP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Dynasys PROD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649700" y="3223328"/>
            <a:ext cx="409456" cy="1040795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;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5212652" y="3022986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RFC</a:t>
            </a:r>
          </a:p>
        </p:txBody>
      </p:sp>
      <p:cxnSp>
        <p:nvCxnSpPr>
          <p:cNvPr id="122" name="Elbow Connector 121"/>
          <p:cNvCxnSpPr>
            <a:stCxn id="8" idx="2"/>
            <a:endCxn id="39" idx="0"/>
          </p:cNvCxnSpPr>
          <p:nvPr/>
        </p:nvCxnSpPr>
        <p:spPr bwMode="auto">
          <a:xfrm rot="16200000" flipH="1">
            <a:off x="7824356" y="1962125"/>
            <a:ext cx="869079" cy="22381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5" name="Elbow Connector 124"/>
          <p:cNvCxnSpPr>
            <a:stCxn id="9" idx="2"/>
            <a:endCxn id="39" idx="0"/>
          </p:cNvCxnSpPr>
          <p:nvPr/>
        </p:nvCxnSpPr>
        <p:spPr bwMode="auto">
          <a:xfrm rot="16200000" flipH="1">
            <a:off x="8570716" y="2708485"/>
            <a:ext cx="869079" cy="74542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cxnSp>
        <p:nvCxnSpPr>
          <p:cNvPr id="128" name="Elbow Connector 127"/>
          <p:cNvCxnSpPr>
            <a:stCxn id="6" idx="2"/>
            <a:endCxn id="39" idx="0"/>
          </p:cNvCxnSpPr>
          <p:nvPr/>
        </p:nvCxnSpPr>
        <p:spPr bwMode="auto">
          <a:xfrm rot="5400000">
            <a:off x="8973175" y="2595473"/>
            <a:ext cx="1325062" cy="515472"/>
          </a:xfrm>
          <a:prstGeom prst="bentConnector3">
            <a:avLst>
              <a:gd name="adj1" fmla="val 6592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33" name="Flowchart: Document 132"/>
          <p:cNvSpPr/>
          <p:nvPr/>
        </p:nvSpPr>
        <p:spPr bwMode="auto">
          <a:xfrm>
            <a:off x="4497711" y="3018542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4" name="Flowchart: Document 133"/>
          <p:cNvSpPr/>
          <p:nvPr/>
        </p:nvSpPr>
        <p:spPr bwMode="auto">
          <a:xfrm>
            <a:off x="8953995" y="323597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5" name="Flowchart: Document 134"/>
          <p:cNvSpPr/>
          <p:nvPr/>
        </p:nvSpPr>
        <p:spPr bwMode="auto">
          <a:xfrm>
            <a:off x="10734785" y="325066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6483725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8048239" y="271980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333491" y="2237272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682393" y="2246243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zTCD</a:t>
            </a:r>
          </a:p>
        </p:txBody>
      </p:sp>
      <p:sp>
        <p:nvSpPr>
          <p:cNvPr id="140" name="Rectangle 139"/>
          <p:cNvSpPr/>
          <p:nvPr/>
        </p:nvSpPr>
        <p:spPr bwMode="auto">
          <a:xfrm>
            <a:off x="4535644" y="4556824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OLEDO scale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cxnSp>
        <p:nvCxnSpPr>
          <p:cNvPr id="141" name="Elbow Connector 140"/>
          <p:cNvCxnSpPr>
            <a:stCxn id="140" idx="0"/>
            <a:endCxn id="38" idx="2"/>
          </p:cNvCxnSpPr>
          <p:nvPr/>
        </p:nvCxnSpPr>
        <p:spPr bwMode="auto">
          <a:xfrm rot="5400000" flipH="1" flipV="1">
            <a:off x="4626381" y="4223585"/>
            <a:ext cx="666479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145" name="Rectangle 144"/>
          <p:cNvSpPr/>
          <p:nvPr/>
        </p:nvSpPr>
        <p:spPr bwMode="auto">
          <a:xfrm>
            <a:off x="10152326" y="497092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OLEDO scale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46" name="Elbow Connector 145"/>
          <p:cNvCxnSpPr>
            <a:stCxn id="145" idx="0"/>
            <a:endCxn id="58" idx="2"/>
          </p:cNvCxnSpPr>
          <p:nvPr/>
        </p:nvCxnSpPr>
        <p:spPr bwMode="auto">
          <a:xfrm rot="5400000" flipH="1" flipV="1">
            <a:off x="10406751" y="4268627"/>
            <a:ext cx="871853" cy="53275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46" name="Flowchart: Document 45"/>
          <p:cNvSpPr/>
          <p:nvPr/>
        </p:nvSpPr>
        <p:spPr bwMode="auto">
          <a:xfrm>
            <a:off x="4610233" y="4264123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Flowchart: Document 46"/>
          <p:cNvSpPr/>
          <p:nvPr/>
        </p:nvSpPr>
        <p:spPr bwMode="auto">
          <a:xfrm>
            <a:off x="10634062" y="4708895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8" name="Elbow Connector 47"/>
          <p:cNvCxnSpPr>
            <a:stCxn id="145" idx="0"/>
            <a:endCxn id="39" idx="2"/>
          </p:cNvCxnSpPr>
          <p:nvPr/>
        </p:nvCxnSpPr>
        <p:spPr bwMode="auto">
          <a:xfrm rot="16200000" flipV="1">
            <a:off x="9541210" y="3935836"/>
            <a:ext cx="871853" cy="119833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arrow" w="med" len="med"/>
          </a:ln>
          <a:effectLst/>
        </p:spPr>
      </p:cxnSp>
      <p:sp>
        <p:nvSpPr>
          <p:cNvPr id="51" name="TextBox 50"/>
          <p:cNvSpPr txBox="1"/>
          <p:nvPr/>
        </p:nvSpPr>
        <p:spPr>
          <a:xfrm>
            <a:off x="5199243" y="244585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0073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TMS Kewill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861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317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153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153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608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146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854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146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842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134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3942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MS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9104105" y="3975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TMS   Sandbox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16200000" flipH="1">
            <a:off x="7949173" y="2396539"/>
            <a:ext cx="537735" cy="26200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39" idx="0"/>
          </p:cNvCxnSpPr>
          <p:nvPr/>
        </p:nvCxnSpPr>
        <p:spPr bwMode="auto">
          <a:xfrm rot="16200000" flipH="1">
            <a:off x="8695534" y="3142900"/>
            <a:ext cx="537735" cy="11273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39" idx="0"/>
          </p:cNvCxnSpPr>
          <p:nvPr/>
        </p:nvCxnSpPr>
        <p:spPr bwMode="auto">
          <a:xfrm rot="5400000">
            <a:off x="9441895" y="3523900"/>
            <a:ext cx="537735" cy="3653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975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TMS 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550" y="3700834"/>
            <a:ext cx="54922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649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643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867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2159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2159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2159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388787" y="3196519"/>
            <a:ext cx="1490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556" y="5328891"/>
            <a:ext cx="4898926" cy="12187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Move PI/PO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TMS PROD to 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>
                <a:solidFill>
                  <a:srgbClr val="FF0000"/>
                </a:solidFill>
              </a:rPr>
              <a:t>Manually</a:t>
            </a:r>
            <a:r>
              <a:rPr lang="pt-BR" sz="1200" dirty="0" smtClean="0"/>
              <a:t> create MD in TM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150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142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140628" y="2981473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558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592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; (6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3942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TMS Sandbox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88" idx="2"/>
            <a:endCxn id="110" idx="0"/>
          </p:cNvCxnSpPr>
          <p:nvPr/>
        </p:nvCxnSpPr>
        <p:spPr bwMode="auto">
          <a:xfrm rot="16200000" flipH="1">
            <a:off x="1954321" y="2772542"/>
            <a:ext cx="1490981" cy="84795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4" name="Elbow Connector 113"/>
          <p:cNvCxnSpPr>
            <a:stCxn id="89" idx="2"/>
            <a:endCxn id="110" idx="0"/>
          </p:cNvCxnSpPr>
          <p:nvPr/>
        </p:nvCxnSpPr>
        <p:spPr bwMode="auto">
          <a:xfrm rot="5400000">
            <a:off x="2700682" y="2874133"/>
            <a:ext cx="1490981" cy="644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20" name="TextBox 119"/>
          <p:cNvSpPr txBox="1"/>
          <p:nvPr/>
        </p:nvSpPr>
        <p:spPr>
          <a:xfrm>
            <a:off x="995382" y="2567492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577551" y="2577303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953872" y="2574239"/>
            <a:ext cx="1164543" cy="53116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Inbound: Web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100" dirty="0" smtClean="0"/>
              <a:t>Outbound: IDOC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501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499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779170" y="372746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585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</p:spTree>
    <p:extLst>
      <p:ext uri="{BB962C8B-B14F-4D97-AF65-F5344CB8AC3E}">
        <p14:creationId xmlns:p14="http://schemas.microsoft.com/office/powerpoint/2010/main" val="2162981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KO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480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1936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772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772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227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765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473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765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461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753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3561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GKO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800" dirty="0">
                <a:solidFill>
                  <a:schemeClr val="tx1"/>
                </a:solidFill>
                <a:latin typeface="Arial" charset="0"/>
              </a:rPr>
              <a:t>Before Go-liv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8469105" y="3594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GKO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16200000" flipH="1">
            <a:off x="7631673" y="2333039"/>
            <a:ext cx="537735" cy="198508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39" idx="0"/>
          </p:cNvCxnSpPr>
          <p:nvPr/>
        </p:nvCxnSpPr>
        <p:spPr bwMode="auto">
          <a:xfrm rot="16200000" flipH="1">
            <a:off x="8378034" y="3079400"/>
            <a:ext cx="537735" cy="49236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39" idx="0"/>
          </p:cNvCxnSpPr>
          <p:nvPr/>
        </p:nvCxnSpPr>
        <p:spPr bwMode="auto">
          <a:xfrm rot="5400000">
            <a:off x="9124395" y="2825400"/>
            <a:ext cx="537735" cy="100036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594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</a:rPr>
              <a:t>GKO PROD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After Go-live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550" y="3319834"/>
            <a:ext cx="54922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268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262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486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778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778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1839156" y="5614022"/>
            <a:ext cx="7871606" cy="11117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3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 smtClean="0"/>
              <a:t>Business </a:t>
            </a:r>
            <a:r>
              <a:rPr lang="pt-BR" sz="1200" dirty="0"/>
              <a:t>Cut </a:t>
            </a:r>
            <a:r>
              <a:rPr lang="pt-BR" sz="1200" dirty="0" smtClean="0"/>
              <a:t>off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Implement Changes in GKO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Connect POP to FEP</a:t>
            </a:r>
            <a:endParaRPr lang="pt-BR" sz="1200" dirty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/>
              <a:t>Automatically </a:t>
            </a:r>
            <a:r>
              <a:rPr lang="pt-BR" sz="1200" dirty="0" smtClean="0"/>
              <a:t>create MD in GKO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769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761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447088" y="2097786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1042393" y="457391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6); (7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3561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GKO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0184144" y="2120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pt-BR" sz="1200" dirty="0"/>
              <a:t>ABAP </a:t>
            </a:r>
            <a:r>
              <a:rPr lang="pt-BR" sz="1200" dirty="0" smtClean="0"/>
              <a:t>Proxy</a:t>
            </a:r>
            <a:endParaRPr lang="pt-BR" sz="1200" dirty="0"/>
          </a:p>
        </p:txBody>
      </p:sp>
      <p:sp>
        <p:nvSpPr>
          <p:cNvPr id="62" name="Rectangle 61"/>
          <p:cNvSpPr/>
          <p:nvPr/>
        </p:nvSpPr>
        <p:spPr bwMode="auto">
          <a:xfrm>
            <a:off x="362582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1855303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4" name="Straight Arrow Connector 63"/>
          <p:cNvCxnSpPr>
            <a:stCxn id="62" idx="3"/>
            <a:endCxn id="63" idx="1"/>
          </p:cNvCxnSpPr>
          <p:nvPr/>
        </p:nvCxnSpPr>
        <p:spPr bwMode="auto">
          <a:xfrm>
            <a:off x="1210533" y="2786850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3348024" y="2495182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6" name="Straight Arrow Connector 65"/>
          <p:cNvCxnSpPr>
            <a:stCxn id="63" idx="3"/>
            <a:endCxn id="65" idx="1"/>
          </p:cNvCxnSpPr>
          <p:nvPr/>
        </p:nvCxnSpPr>
        <p:spPr bwMode="auto">
          <a:xfrm>
            <a:off x="2703254" y="2786850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7" name="Rectangle 66"/>
          <p:cNvSpPr/>
          <p:nvPr/>
        </p:nvSpPr>
        <p:spPr bwMode="auto">
          <a:xfrm>
            <a:off x="4713745" y="2483690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68" name="Straight Arrow Connector 67"/>
          <p:cNvCxnSpPr>
            <a:stCxn id="65" idx="3"/>
            <a:endCxn id="67" idx="1"/>
          </p:cNvCxnSpPr>
          <p:nvPr/>
        </p:nvCxnSpPr>
        <p:spPr bwMode="auto">
          <a:xfrm flipV="1">
            <a:off x="4195975" y="2775358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5268022" y="317904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cxnSp>
        <p:nvCxnSpPr>
          <p:cNvPr id="70" name="Elbow Connector 69"/>
          <p:cNvCxnSpPr>
            <a:stCxn id="62" idx="2"/>
            <a:endCxn id="110" idx="0"/>
          </p:cNvCxnSpPr>
          <p:nvPr/>
        </p:nvCxnSpPr>
        <p:spPr bwMode="auto">
          <a:xfrm rot="16200000" flipH="1">
            <a:off x="1713926" y="2151148"/>
            <a:ext cx="482492" cy="233722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2" name="Elbow Connector 71"/>
          <p:cNvCxnSpPr>
            <a:stCxn id="67" idx="2"/>
            <a:endCxn id="38" idx="0"/>
          </p:cNvCxnSpPr>
          <p:nvPr/>
        </p:nvCxnSpPr>
        <p:spPr bwMode="auto">
          <a:xfrm rot="5400000">
            <a:off x="4889008" y="3312296"/>
            <a:ext cx="493985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3" name="Elbow Connector 72"/>
          <p:cNvCxnSpPr>
            <a:stCxn id="87" idx="2"/>
            <a:endCxn id="62" idx="0"/>
          </p:cNvCxnSpPr>
          <p:nvPr/>
        </p:nvCxnSpPr>
        <p:spPr bwMode="auto">
          <a:xfrm rot="16200000" flipH="1">
            <a:off x="572259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5" name="Elbow Connector 74"/>
          <p:cNvCxnSpPr>
            <a:stCxn id="88" idx="2"/>
            <a:endCxn id="63" idx="0"/>
          </p:cNvCxnSpPr>
          <p:nvPr/>
        </p:nvCxnSpPr>
        <p:spPr bwMode="auto">
          <a:xfrm rot="16200000" flipH="1">
            <a:off x="2064980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7" name="Elbow Connector 76"/>
          <p:cNvCxnSpPr>
            <a:stCxn id="89" idx="2"/>
            <a:endCxn id="65" idx="0"/>
          </p:cNvCxnSpPr>
          <p:nvPr/>
        </p:nvCxnSpPr>
        <p:spPr bwMode="auto">
          <a:xfrm rot="16200000" flipH="1">
            <a:off x="3557701" y="2280883"/>
            <a:ext cx="425154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0" name="Elbow Connector 79"/>
          <p:cNvCxnSpPr>
            <a:stCxn id="90" idx="2"/>
            <a:endCxn id="67" idx="0"/>
          </p:cNvCxnSpPr>
          <p:nvPr/>
        </p:nvCxnSpPr>
        <p:spPr bwMode="auto">
          <a:xfrm rot="16200000" flipH="1">
            <a:off x="4929168" y="2275137"/>
            <a:ext cx="413662" cy="344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3" name="Elbow Connector 82"/>
          <p:cNvCxnSpPr>
            <a:stCxn id="63" idx="2"/>
            <a:endCxn id="110" idx="0"/>
          </p:cNvCxnSpPr>
          <p:nvPr/>
        </p:nvCxnSpPr>
        <p:spPr bwMode="auto">
          <a:xfrm rot="16200000" flipH="1">
            <a:off x="2460287" y="2897509"/>
            <a:ext cx="482492" cy="84450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6" name="Elbow Connector 85"/>
          <p:cNvCxnSpPr>
            <a:stCxn id="65" idx="2"/>
            <a:endCxn id="110" idx="0"/>
          </p:cNvCxnSpPr>
          <p:nvPr/>
        </p:nvCxnSpPr>
        <p:spPr bwMode="auto">
          <a:xfrm rot="5400000">
            <a:off x="3206648" y="2995657"/>
            <a:ext cx="482492" cy="64821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95" name="TextBox 94"/>
          <p:cNvSpPr txBox="1"/>
          <p:nvPr/>
        </p:nvSpPr>
        <p:spPr>
          <a:xfrm>
            <a:off x="881327" y="212997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ABAP Prox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594851" y="212655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/>
              <a:t>ABAP Proxy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044992" y="212407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/>
              <a:t>ABAP Proxy</a:t>
            </a:r>
          </a:p>
        </p:txBody>
      </p:sp>
      <p:sp>
        <p:nvSpPr>
          <p:cNvPr id="103" name="Cloud Callout 102"/>
          <p:cNvSpPr/>
          <p:nvPr/>
        </p:nvSpPr>
        <p:spPr bwMode="auto">
          <a:xfrm>
            <a:off x="4119730" y="4837336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cxnSp>
        <p:nvCxnSpPr>
          <p:cNvPr id="104" name="Elbow Connector 103"/>
          <p:cNvCxnSpPr>
            <a:stCxn id="38" idx="2"/>
            <a:endCxn id="103" idx="3"/>
          </p:cNvCxnSpPr>
          <p:nvPr/>
        </p:nvCxnSpPr>
        <p:spPr bwMode="auto">
          <a:xfrm rot="5400000">
            <a:off x="4613083" y="4361794"/>
            <a:ext cx="738645" cy="30374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2" name="TextBox 111"/>
          <p:cNvSpPr txBox="1"/>
          <p:nvPr/>
        </p:nvSpPr>
        <p:spPr>
          <a:xfrm>
            <a:off x="4907837" y="455563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FTP</a:t>
            </a:r>
          </a:p>
        </p:txBody>
      </p:sp>
      <p:cxnSp>
        <p:nvCxnSpPr>
          <p:cNvPr id="113" name="Elbow Connector 112"/>
          <p:cNvCxnSpPr>
            <a:stCxn id="110" idx="2"/>
            <a:endCxn id="103" idx="3"/>
          </p:cNvCxnSpPr>
          <p:nvPr/>
        </p:nvCxnSpPr>
        <p:spPr bwMode="auto">
          <a:xfrm rot="16200000" flipH="1">
            <a:off x="3607836" y="3660295"/>
            <a:ext cx="738646" cy="170674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5" name="Cloud Callout 114"/>
          <p:cNvSpPr/>
          <p:nvPr/>
        </p:nvSpPr>
        <p:spPr bwMode="auto">
          <a:xfrm>
            <a:off x="9739016" y="4904427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cxnSp>
        <p:nvCxnSpPr>
          <p:cNvPr id="116" name="Elbow Connector 115"/>
          <p:cNvCxnSpPr>
            <a:stCxn id="58" idx="2"/>
            <a:endCxn id="115" idx="3"/>
          </p:cNvCxnSpPr>
          <p:nvPr/>
        </p:nvCxnSpPr>
        <p:spPr bwMode="auto">
          <a:xfrm rot="5400000">
            <a:off x="10468341" y="4159259"/>
            <a:ext cx="772298" cy="80934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17" name="Elbow Connector 116"/>
          <p:cNvCxnSpPr>
            <a:stCxn id="39" idx="2"/>
            <a:endCxn id="115" idx="3"/>
          </p:cNvCxnSpPr>
          <p:nvPr/>
        </p:nvCxnSpPr>
        <p:spPr bwMode="auto">
          <a:xfrm rot="16200000" flipH="1">
            <a:off x="9285300" y="3785564"/>
            <a:ext cx="772298" cy="155673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18" name="TextBox 117"/>
          <p:cNvSpPr txBox="1"/>
          <p:nvPr/>
        </p:nvSpPr>
        <p:spPr>
          <a:xfrm>
            <a:off x="9913607" y="4583157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FTP</a:t>
            </a:r>
          </a:p>
        </p:txBody>
      </p:sp>
      <p:sp>
        <p:nvSpPr>
          <p:cNvPr id="119" name="Cloud Callout 118"/>
          <p:cNvSpPr/>
          <p:nvPr/>
        </p:nvSpPr>
        <p:spPr bwMode="auto">
          <a:xfrm>
            <a:off x="1529475" y="476086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SEFAZ</a:t>
            </a:r>
          </a:p>
        </p:txBody>
      </p:sp>
      <p:sp>
        <p:nvSpPr>
          <p:cNvPr id="121" name="Cloud Callout 120"/>
          <p:cNvSpPr/>
          <p:nvPr/>
        </p:nvSpPr>
        <p:spPr bwMode="auto">
          <a:xfrm>
            <a:off x="7504361" y="4760862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SEFAZ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855303" y="33642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361896" y="3347201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7889189" y="336125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0395782" y="334417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JDBC</a:t>
            </a:r>
          </a:p>
        </p:txBody>
      </p:sp>
      <p:cxnSp>
        <p:nvCxnSpPr>
          <p:cNvPr id="84" name="Elbow Connector 83"/>
          <p:cNvCxnSpPr>
            <a:stCxn id="110" idx="2"/>
            <a:endCxn id="119" idx="3"/>
          </p:cNvCxnSpPr>
          <p:nvPr/>
        </p:nvCxnSpPr>
        <p:spPr bwMode="auto">
          <a:xfrm rot="5400000">
            <a:off x="2350946" y="4033675"/>
            <a:ext cx="662172" cy="88351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85" name="Elbow Connector 84"/>
          <p:cNvCxnSpPr>
            <a:stCxn id="38" idx="2"/>
            <a:endCxn id="119" idx="3"/>
          </p:cNvCxnSpPr>
          <p:nvPr/>
        </p:nvCxnSpPr>
        <p:spPr bwMode="auto">
          <a:xfrm rot="5400000">
            <a:off x="3356192" y="3028429"/>
            <a:ext cx="662171" cy="289400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58" idx="2"/>
            <a:endCxn id="121" idx="3"/>
          </p:cNvCxnSpPr>
          <p:nvPr/>
        </p:nvCxnSpPr>
        <p:spPr bwMode="auto">
          <a:xfrm rot="5400000">
            <a:off x="9422797" y="2970149"/>
            <a:ext cx="628733" cy="3044001"/>
          </a:xfrm>
          <a:prstGeom prst="bentConnector3">
            <a:avLst>
              <a:gd name="adj1" fmla="val 63425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00" name="Elbow Connector 99"/>
          <p:cNvCxnSpPr>
            <a:stCxn id="39" idx="2"/>
            <a:endCxn id="121" idx="3"/>
          </p:cNvCxnSpPr>
          <p:nvPr/>
        </p:nvCxnSpPr>
        <p:spPr bwMode="auto">
          <a:xfrm rot="5400000">
            <a:off x="8239756" y="4153190"/>
            <a:ext cx="628733" cy="677919"/>
          </a:xfrm>
          <a:prstGeom prst="bentConnector3">
            <a:avLst>
              <a:gd name="adj1" fmla="val 65662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7" name="TextBox 106"/>
          <p:cNvSpPr txBox="1"/>
          <p:nvPr/>
        </p:nvSpPr>
        <p:spPr>
          <a:xfrm>
            <a:off x="1784576" y="435911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7728732" y="446644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</p:spTree>
    <p:extLst>
      <p:ext uri="{BB962C8B-B14F-4D97-AF65-F5344CB8AC3E}">
        <p14:creationId xmlns:p14="http://schemas.microsoft.com/office/powerpoint/2010/main" val="41188993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neSource Global Trade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734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190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2026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2026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481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727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3019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715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3007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6484023" y="3848448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Dev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5" name="Elbow Connector 44"/>
          <p:cNvCxnSpPr>
            <a:stCxn id="29" idx="2"/>
            <a:endCxn id="39" idx="0"/>
          </p:cNvCxnSpPr>
          <p:nvPr/>
        </p:nvCxnSpPr>
        <p:spPr bwMode="auto">
          <a:xfrm rot="5400000">
            <a:off x="6639133" y="3579580"/>
            <a:ext cx="537735" cy="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1" idx="0"/>
          </p:cNvCxnSpPr>
          <p:nvPr/>
        </p:nvCxnSpPr>
        <p:spPr bwMode="auto">
          <a:xfrm rot="16200000" flipH="1">
            <a:off x="8134758" y="3576676"/>
            <a:ext cx="535823" cy="389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2" idx="0"/>
          </p:cNvCxnSpPr>
          <p:nvPr/>
        </p:nvCxnSpPr>
        <p:spPr bwMode="auto">
          <a:xfrm rot="16200000" flipH="1">
            <a:off x="9627416" y="3576739"/>
            <a:ext cx="535822" cy="3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58" name="Rectangle 57"/>
          <p:cNvSpPr/>
          <p:nvPr/>
        </p:nvSpPr>
        <p:spPr bwMode="auto">
          <a:xfrm>
            <a:off x="10835187" y="3849012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Pr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9" name="Elbow Connector 58"/>
          <p:cNvCxnSpPr>
            <a:stCxn id="35" idx="2"/>
            <a:endCxn id="58" idx="0"/>
          </p:cNvCxnSpPr>
          <p:nvPr/>
        </p:nvCxnSpPr>
        <p:spPr bwMode="auto">
          <a:xfrm rot="5400000">
            <a:off x="10984268" y="3574116"/>
            <a:ext cx="549791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522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516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9628" y="5179722"/>
            <a:ext cx="5125017" cy="14424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OSGT</a:t>
            </a:r>
          </a:p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pt-BR" sz="1200" dirty="0"/>
              <a:t>Connect OSGT to </a:t>
            </a:r>
            <a:r>
              <a:rPr lang="pt-BR" sz="1200" dirty="0" smtClean="0"/>
              <a:t>POP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Automatically create MD in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Implement Changes in Configuration tables for OSGT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2023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3015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1265513" y="3431957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739275" y="446589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; (5); (7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5144" y="2374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372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84231" y="342138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0747743" y="3458694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980641" y="3846536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IS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9473236" y="3846535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OSGT UAT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425595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903599" y="342015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</a:t>
            </a:r>
          </a:p>
        </p:txBody>
      </p:sp>
      <p:cxnSp>
        <p:nvCxnSpPr>
          <p:cNvPr id="65" name="Straight Arrow Connector 64"/>
          <p:cNvCxnSpPr>
            <a:stCxn id="39" idx="3"/>
            <a:endCxn id="61" idx="1"/>
          </p:cNvCxnSpPr>
          <p:nvPr/>
        </p:nvCxnSpPr>
        <p:spPr bwMode="auto">
          <a:xfrm flipV="1">
            <a:off x="7331974" y="4138204"/>
            <a:ext cx="648667" cy="191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7" name="Straight Arrow Connector 66"/>
          <p:cNvCxnSpPr>
            <a:stCxn id="61" idx="3"/>
            <a:endCxn id="62" idx="1"/>
          </p:cNvCxnSpPr>
          <p:nvPr/>
        </p:nvCxnSpPr>
        <p:spPr bwMode="auto">
          <a:xfrm flipV="1">
            <a:off x="8828592" y="4138203"/>
            <a:ext cx="644644" cy="1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Arrow Connector 69"/>
          <p:cNvCxnSpPr>
            <a:stCxn id="62" idx="3"/>
            <a:endCxn id="58" idx="1"/>
          </p:cNvCxnSpPr>
          <p:nvPr/>
        </p:nvCxnSpPr>
        <p:spPr bwMode="auto">
          <a:xfrm>
            <a:off x="10321187" y="4138203"/>
            <a:ext cx="514000" cy="247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47" name="TextBox 46"/>
          <p:cNvSpPr txBox="1"/>
          <p:nvPr/>
        </p:nvSpPr>
        <p:spPr>
          <a:xfrm>
            <a:off x="11361364" y="227837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</p:spTree>
    <p:extLst>
      <p:ext uri="{BB962C8B-B14F-4D97-AF65-F5344CB8AC3E}">
        <p14:creationId xmlns:p14="http://schemas.microsoft.com/office/powerpoint/2010/main" val="17329805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roup 98"/>
          <p:cNvGrpSpPr/>
          <p:nvPr/>
        </p:nvGrpSpPr>
        <p:grpSpPr>
          <a:xfrm>
            <a:off x="154546" y="901699"/>
            <a:ext cx="11863004" cy="5190007"/>
            <a:chOff x="154546" y="901700"/>
            <a:chExt cx="11863004" cy="5112734"/>
          </a:xfrm>
        </p:grpSpPr>
        <p:sp>
          <p:nvSpPr>
            <p:cNvPr id="98" name="Rectangle 97"/>
            <p:cNvSpPr/>
            <p:nvPr/>
          </p:nvSpPr>
          <p:spPr bwMode="auto">
            <a:xfrm>
              <a:off x="6131904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O-B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54546" y="901700"/>
              <a:ext cx="5885646" cy="51127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0" lang="pt-BR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S</a:t>
              </a:r>
              <a:r>
                <a:rPr lang="pt-BR" sz="2000" dirty="0" smtClean="0">
                  <a:latin typeface="Arial" charset="0"/>
                </a:rPr>
                <a:t>-IS</a:t>
              </a:r>
              <a:endPara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rrier WebServices Satellite Landscape</a:t>
            </a:r>
            <a:endParaRPr lang="pt-BR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484024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7</a:t>
            </a:r>
            <a:r>
              <a:rPr kumimoji="0" lang="en-US" sz="9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P12</a:t>
            </a: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976745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T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9469466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F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chemeClr val="tx1"/>
                </a:solidFill>
                <a:latin typeface="Arial" charset="0"/>
              </a:rPr>
              <a:t>EhP7 </a:t>
            </a: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835187" y="160734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7 SP12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715844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BD</a:t>
            </a:r>
          </a:p>
          <a:p>
            <a:pPr lvl="0"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rgbClr val="626469"/>
                </a:solidFill>
                <a:latin typeface="Arial" charset="0"/>
              </a:rPr>
              <a:t>EhP7 SP12</a:t>
            </a:r>
            <a:endParaRPr lang="en-US" sz="900" dirty="0">
              <a:solidFill>
                <a:srgbClr val="626469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208565" y="2063326"/>
            <a:ext cx="847951" cy="583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FBI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>
                <a:solidFill>
                  <a:srgbClr val="626469"/>
                </a:solidFill>
                <a:latin typeface="Arial" charset="0"/>
              </a:rPr>
              <a:t>EhP7 SP12</a:t>
            </a:r>
          </a:p>
        </p:txBody>
      </p:sp>
      <p:cxnSp>
        <p:nvCxnSpPr>
          <p:cNvPr id="10" name="Straight Arrow Connector 9"/>
          <p:cNvCxnSpPr>
            <a:stCxn id="4" idx="3"/>
            <a:endCxn id="5" idx="1"/>
          </p:cNvCxnSpPr>
          <p:nvPr/>
        </p:nvCxnSpPr>
        <p:spPr bwMode="auto">
          <a:xfrm>
            <a:off x="7331975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1" name="Straight Arrow Connector 10"/>
          <p:cNvCxnSpPr>
            <a:stCxn id="5" idx="3"/>
            <a:endCxn id="6" idx="1"/>
          </p:cNvCxnSpPr>
          <p:nvPr/>
        </p:nvCxnSpPr>
        <p:spPr bwMode="auto">
          <a:xfrm>
            <a:off x="8824696" y="189901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2" name="Straight Arrow Connector 11"/>
          <p:cNvCxnSpPr>
            <a:stCxn id="6" idx="3"/>
            <a:endCxn id="7" idx="1"/>
          </p:cNvCxnSpPr>
          <p:nvPr/>
        </p:nvCxnSpPr>
        <p:spPr bwMode="auto">
          <a:xfrm>
            <a:off x="10317417" y="189901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Straight Arrow Connector 14"/>
          <p:cNvCxnSpPr>
            <a:stCxn id="8" idx="3"/>
            <a:endCxn id="9" idx="1"/>
          </p:cNvCxnSpPr>
          <p:nvPr/>
        </p:nvCxnSpPr>
        <p:spPr bwMode="auto">
          <a:xfrm>
            <a:off x="7563795" y="2354994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6484024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D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976745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I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29" idx="3"/>
            <a:endCxn id="30" idx="1"/>
          </p:cNvCxnSpPr>
          <p:nvPr/>
        </p:nvCxnSpPr>
        <p:spPr bwMode="auto">
          <a:xfrm>
            <a:off x="7331975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9469466" y="2600378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U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3" name="Straight Arrow Connector 32"/>
          <p:cNvCxnSpPr>
            <a:stCxn id="30" idx="3"/>
            <a:endCxn id="32" idx="1"/>
          </p:cNvCxnSpPr>
          <p:nvPr/>
        </p:nvCxnSpPr>
        <p:spPr bwMode="auto">
          <a:xfrm>
            <a:off x="8824696" y="2892046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5" name="Rectangle 34"/>
          <p:cNvSpPr/>
          <p:nvPr/>
        </p:nvSpPr>
        <p:spPr bwMode="auto">
          <a:xfrm>
            <a:off x="10835187" y="2588886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600" dirty="0" smtClean="0">
                <a:solidFill>
                  <a:schemeClr val="tx1"/>
                </a:solidFill>
                <a:latin typeface="Arial" charset="0"/>
              </a:rPr>
              <a:t>POP</a:t>
            </a:r>
            <a:endParaRPr lang="en-US" sz="16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/>
          <p:cNvCxnSpPr>
            <a:stCxn id="32" idx="3"/>
            <a:endCxn id="35" idx="1"/>
          </p:cNvCxnSpPr>
          <p:nvPr/>
        </p:nvCxnSpPr>
        <p:spPr bwMode="auto">
          <a:xfrm flipV="1">
            <a:off x="10317417" y="2880554"/>
            <a:ext cx="517770" cy="1149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4710302" y="2926010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Carrier </a:t>
            </a: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WS    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Before </a:t>
            </a:r>
            <a:r>
              <a:rPr lang="en-US" sz="800" dirty="0">
                <a:solidFill>
                  <a:schemeClr val="tx1"/>
                </a:solidFill>
                <a:latin typeface="Arial" charset="0"/>
              </a:rPr>
              <a:t>Go-live</a:t>
            </a:r>
          </a:p>
        </p:txBody>
      </p:sp>
      <p:cxnSp>
        <p:nvCxnSpPr>
          <p:cNvPr id="45" name="Elbow Connector 44"/>
          <p:cNvCxnSpPr>
            <a:stCxn id="29" idx="2"/>
            <a:endCxn id="66" idx="3"/>
          </p:cNvCxnSpPr>
          <p:nvPr/>
        </p:nvCxnSpPr>
        <p:spPr bwMode="auto">
          <a:xfrm rot="16200000" flipH="1">
            <a:off x="7803753" y="2287960"/>
            <a:ext cx="927981" cy="271948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Elbow Connector 49"/>
          <p:cNvCxnSpPr>
            <a:stCxn id="30" idx="2"/>
            <a:endCxn id="66" idx="3"/>
          </p:cNvCxnSpPr>
          <p:nvPr/>
        </p:nvCxnSpPr>
        <p:spPr bwMode="auto">
          <a:xfrm rot="16200000" flipH="1">
            <a:off x="8550113" y="3034320"/>
            <a:ext cx="927981" cy="122676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5" name="Elbow Connector 54"/>
          <p:cNvCxnSpPr>
            <a:stCxn id="32" idx="2"/>
            <a:endCxn id="66" idx="3"/>
          </p:cNvCxnSpPr>
          <p:nvPr/>
        </p:nvCxnSpPr>
        <p:spPr bwMode="auto">
          <a:xfrm rot="5400000">
            <a:off x="9296474" y="3514725"/>
            <a:ext cx="927981" cy="265956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9" name="Elbow Connector 58"/>
          <p:cNvCxnSpPr>
            <a:stCxn id="35" idx="2"/>
            <a:endCxn id="66" idx="3"/>
          </p:cNvCxnSpPr>
          <p:nvPr/>
        </p:nvCxnSpPr>
        <p:spPr bwMode="auto">
          <a:xfrm rot="5400000">
            <a:off x="9973589" y="2826119"/>
            <a:ext cx="939473" cy="163167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1" name="Elbow Connector 70"/>
          <p:cNvCxnSpPr>
            <a:stCxn id="6" idx="2"/>
            <a:endCxn id="32" idx="0"/>
          </p:cNvCxnSpPr>
          <p:nvPr/>
        </p:nvCxnSpPr>
        <p:spPr bwMode="auto">
          <a:xfrm rot="5400000">
            <a:off x="9688592" y="2395528"/>
            <a:ext cx="409700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74" name="Elbow Connector 73"/>
          <p:cNvCxnSpPr>
            <a:stCxn id="7" idx="2"/>
            <a:endCxn id="35" idx="0"/>
          </p:cNvCxnSpPr>
          <p:nvPr/>
        </p:nvCxnSpPr>
        <p:spPr bwMode="auto">
          <a:xfrm rot="5400000">
            <a:off x="11060059" y="2389782"/>
            <a:ext cx="398208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87" name="Rectangle 86"/>
          <p:cNvSpPr/>
          <p:nvPr/>
        </p:nvSpPr>
        <p:spPr bwMode="auto">
          <a:xfrm>
            <a:off x="359139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D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hP5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851860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Q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344581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U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4710302" y="1613693"/>
            <a:ext cx="847951" cy="58333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P</a:t>
            </a:r>
          </a:p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900" dirty="0" smtClean="0">
                <a:solidFill>
                  <a:schemeClr val="tx1"/>
                </a:solidFill>
                <a:latin typeface="Arial" charset="0"/>
              </a:rPr>
              <a:t>EhP5</a:t>
            </a:r>
            <a:endParaRPr lang="en-US" sz="9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91" name="Straight Arrow Connector 90"/>
          <p:cNvCxnSpPr>
            <a:stCxn id="87" idx="3"/>
            <a:endCxn id="88" idx="1"/>
          </p:cNvCxnSpPr>
          <p:nvPr/>
        </p:nvCxnSpPr>
        <p:spPr bwMode="auto">
          <a:xfrm>
            <a:off x="1207090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2" name="Straight Arrow Connector 91"/>
          <p:cNvCxnSpPr>
            <a:stCxn id="88" idx="3"/>
            <a:endCxn id="89" idx="1"/>
          </p:cNvCxnSpPr>
          <p:nvPr/>
        </p:nvCxnSpPr>
        <p:spPr bwMode="auto">
          <a:xfrm>
            <a:off x="2699811" y="1905361"/>
            <a:ext cx="644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3" name="Straight Arrow Connector 92"/>
          <p:cNvCxnSpPr>
            <a:stCxn id="89" idx="3"/>
            <a:endCxn id="90" idx="1"/>
          </p:cNvCxnSpPr>
          <p:nvPr/>
        </p:nvCxnSpPr>
        <p:spPr bwMode="auto">
          <a:xfrm>
            <a:off x="4192532" y="1905361"/>
            <a:ext cx="517770" cy="0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94" name="Elbow Connector 93"/>
          <p:cNvCxnSpPr>
            <a:stCxn id="90" idx="2"/>
            <a:endCxn id="38" idx="0"/>
          </p:cNvCxnSpPr>
          <p:nvPr/>
        </p:nvCxnSpPr>
        <p:spPr bwMode="auto">
          <a:xfrm rot="5400000">
            <a:off x="4769787" y="2561519"/>
            <a:ext cx="728982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102" name="TextBox 101"/>
          <p:cNvSpPr txBox="1"/>
          <p:nvPr/>
        </p:nvSpPr>
        <p:spPr>
          <a:xfrm>
            <a:off x="3768964" y="5332948"/>
            <a:ext cx="4790642" cy="12104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numCol="2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Cutover Steps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ECC 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ove </a:t>
            </a:r>
            <a:r>
              <a:rPr lang="pt-BR" sz="1200" dirty="0"/>
              <a:t>PI/PO </a:t>
            </a:r>
            <a:r>
              <a:rPr lang="pt-BR" sz="1200" dirty="0" smtClean="0"/>
              <a:t>TR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Business Cut off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endParaRPr lang="pt-BR" sz="1200" dirty="0" smtClean="0"/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Decommision Carrier W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Map Carrier http and FTP links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AutoNum type="arabicParenBoth"/>
            </a:pPr>
            <a:r>
              <a:rPr lang="pt-BR" sz="1200" dirty="0" smtClean="0"/>
              <a:t>Run Smoke test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0338287" y="1896504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0347869" y="2888412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193330" y="2493581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3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8057037" y="384122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5)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0112689" y="4642460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6)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2699811" y="2926009"/>
            <a:ext cx="847951" cy="58333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  <a:latin typeface="Arial" charset="0"/>
              </a:rPr>
              <a:t>Carrier WS Support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111" name="Elbow Connector 110"/>
          <p:cNvCxnSpPr>
            <a:stCxn id="88" idx="2"/>
            <a:endCxn id="110" idx="0"/>
          </p:cNvCxnSpPr>
          <p:nvPr/>
        </p:nvCxnSpPr>
        <p:spPr bwMode="auto">
          <a:xfrm rot="16200000" flipH="1">
            <a:off x="2335321" y="2137542"/>
            <a:ext cx="728981" cy="84795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114" name="Elbow Connector 113"/>
          <p:cNvCxnSpPr>
            <a:stCxn id="89" idx="2"/>
            <a:endCxn id="110" idx="0"/>
          </p:cNvCxnSpPr>
          <p:nvPr/>
        </p:nvCxnSpPr>
        <p:spPr bwMode="auto">
          <a:xfrm rot="5400000">
            <a:off x="3081682" y="2239133"/>
            <a:ext cx="728981" cy="64477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54" name="TextBox 53"/>
          <p:cNvSpPr txBox="1"/>
          <p:nvPr/>
        </p:nvSpPr>
        <p:spPr>
          <a:xfrm>
            <a:off x="9295144" y="2247139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648165" y="2245685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IDOC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386814" y="3773838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 and FTP</a:t>
            </a:r>
          </a:p>
        </p:txBody>
      </p:sp>
      <p:sp>
        <p:nvSpPr>
          <p:cNvPr id="61" name="Flowchart: Document 60"/>
          <p:cNvSpPr/>
          <p:nvPr/>
        </p:nvSpPr>
        <p:spPr bwMode="auto">
          <a:xfrm>
            <a:off x="4742569" y="2681921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Cloud Callout 2"/>
          <p:cNvSpPr/>
          <p:nvPr/>
        </p:nvSpPr>
        <p:spPr bwMode="auto">
          <a:xfrm>
            <a:off x="3364580" y="4092726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sp>
        <p:nvSpPr>
          <p:cNvPr id="62" name="Flowchart: Document 61"/>
          <p:cNvSpPr/>
          <p:nvPr/>
        </p:nvSpPr>
        <p:spPr bwMode="auto">
          <a:xfrm>
            <a:off x="2795679" y="2687344"/>
            <a:ext cx="218941" cy="153080"/>
          </a:xfrm>
          <a:prstGeom prst="flowChartDocument">
            <a:avLst/>
          </a:prstGeom>
          <a:solidFill>
            <a:schemeClr val="bg1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pt-B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3" name="Elbow Connector 62"/>
          <p:cNvCxnSpPr>
            <a:stCxn id="38" idx="2"/>
            <a:endCxn id="3" idx="3"/>
          </p:cNvCxnSpPr>
          <p:nvPr/>
        </p:nvCxnSpPr>
        <p:spPr bwMode="auto">
          <a:xfrm rot="5400000">
            <a:off x="4290313" y="3294414"/>
            <a:ext cx="629035" cy="105889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64" name="Elbow Connector 63"/>
          <p:cNvCxnSpPr>
            <a:stCxn id="110" idx="2"/>
            <a:endCxn id="3" idx="3"/>
          </p:cNvCxnSpPr>
          <p:nvPr/>
        </p:nvCxnSpPr>
        <p:spPr bwMode="auto">
          <a:xfrm rot="16200000" flipH="1">
            <a:off x="3285066" y="3348065"/>
            <a:ext cx="629036" cy="95159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3810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66" name="Cloud Callout 65"/>
          <p:cNvSpPr/>
          <p:nvPr/>
        </p:nvSpPr>
        <p:spPr bwMode="auto">
          <a:xfrm>
            <a:off x="8916685" y="4066040"/>
            <a:ext cx="1421602" cy="798490"/>
          </a:xfrm>
          <a:prstGeom prst="cloudCallout">
            <a:avLst>
              <a:gd name="adj1" fmla="val -16303"/>
              <a:gd name="adj2" fmla="val 38306"/>
            </a:avLst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000" dirty="0" smtClean="0">
                <a:latin typeface="Arial" charset="0"/>
              </a:rPr>
              <a:t>CARRIER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205090" y="3635829"/>
            <a:ext cx="409456" cy="30616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400" dirty="0" smtClean="0">
                <a:solidFill>
                  <a:srgbClr val="FF0000"/>
                </a:solidFill>
              </a:rPr>
              <a:t>(4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659487" y="3885080"/>
            <a:ext cx="437882" cy="309093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pt-BR" sz="1200" dirty="0" smtClean="0"/>
              <a:t>WS and FT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7743" y="158852"/>
            <a:ext cx="1252704" cy="58862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normAutofit fontScale="85000" lnSpcReduction="20000"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Alterado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bg1"/>
                </a:solidFill>
              </a:rPr>
              <a:t>TR</a:t>
            </a:r>
            <a:endParaRPr lang="en-US" sz="20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9018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vUrVtL0uvnNbG6HNE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ZqtJcfxkOKXW_rwg2c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Ipcknp0ym9GvYbj2GdA"/>
</p:tagLst>
</file>

<file path=ppt/theme/theme1.xml><?xml version="1.0" encoding="utf-8"?>
<a:theme xmlns:a="http://schemas.openxmlformats.org/drawingml/2006/main" name="2_Syngenta Landscape 2007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70</TotalTime>
  <Words>2525</Words>
  <Application>Microsoft Office PowerPoint</Application>
  <PresentationFormat>Widescreen</PresentationFormat>
  <Paragraphs>1285</Paragraphs>
  <Slides>26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Wingdings 2</vt:lpstr>
      <vt:lpstr>2_Syngenta Landscape 2007</vt:lpstr>
      <vt:lpstr>C:\Users\T966104\Documents\repos\docs\syngenta-appmap\Test Enviroment Plan V3.xlsx</vt:lpstr>
      <vt:lpstr>think-cell Slide</vt:lpstr>
      <vt:lpstr>Microsoft Excel Worksheet</vt:lpstr>
      <vt:lpstr>Satellite Integration Report</vt:lpstr>
      <vt:lpstr>Satellite Status report – Week of 2016-11-01 Reason for status: Major satellites on track, Issues being solved in Unit Test</vt:lpstr>
      <vt:lpstr>PowerPoint Presentation</vt:lpstr>
      <vt:lpstr>PnS Satellite Systems Landscapes</vt:lpstr>
      <vt:lpstr>DYNASYS / Toledo Scale Satellite Landscape</vt:lpstr>
      <vt:lpstr>TMS Kewill Satellite Landscape</vt:lpstr>
      <vt:lpstr>GKO Satellite Landscape</vt:lpstr>
      <vt:lpstr>OneSource Global Trade Satellite Landscape</vt:lpstr>
      <vt:lpstr>Carrier WebServices Satellite Landscape</vt:lpstr>
      <vt:lpstr>FiP Satellite Systems Landscapes</vt:lpstr>
      <vt:lpstr>HR (GPS) Satellite Landscape</vt:lpstr>
      <vt:lpstr>Rhadar / Synseg Satellite Landscape</vt:lpstr>
      <vt:lpstr>GRC NFE Satellite Landscape</vt:lpstr>
      <vt:lpstr>MasterSAF DW Satellite Landscape</vt:lpstr>
      <vt:lpstr>SERASA Satellite Landscape</vt:lpstr>
      <vt:lpstr>Credito Rural Satellite Landscape</vt:lpstr>
      <vt:lpstr>Easy IRPJ Satellite Landscape</vt:lpstr>
      <vt:lpstr>VIM Satellite Landscape</vt:lpstr>
      <vt:lpstr>Biller Direct Solution Satellite Landscape</vt:lpstr>
      <vt:lpstr>Integração Nutrace (Feedback – FeedSystem)</vt:lpstr>
      <vt:lpstr>PecSYN Satellite Landscap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yngent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Target Architecture and Interfaces</dc:title>
  <dc:creator>Mehta Kaushal (ext) CHBS</dc:creator>
  <cp:lastModifiedBy>Duzi Alex (ext) BRIF</cp:lastModifiedBy>
  <cp:revision>263</cp:revision>
  <dcterms:created xsi:type="dcterms:W3CDTF">2016-08-24T14:53:31Z</dcterms:created>
  <dcterms:modified xsi:type="dcterms:W3CDTF">2016-11-08T18:44:57Z</dcterms:modified>
</cp:coreProperties>
</file>